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tiff" ContentType="image/tiff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heme/theme2.xml" ContentType="application/vnd.openxmlformats-officedocument.theme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2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36" r:id="rId5"/>
    <p:sldMasterId id="2147483751" r:id="rId6"/>
    <p:sldMasterId id="2147483768" r:id="rId7"/>
  </p:sldMasterIdLst>
  <p:notesMasterIdLst>
    <p:notesMasterId r:id="rId11"/>
  </p:notesMasterIdLst>
  <p:sldIdLst>
    <p:sldId id="2147469931" r:id="rId8"/>
    <p:sldId id="2147469932" r:id="rId9"/>
    <p:sldId id="2147469933" r:id="rId10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71FA835D-FC18-AA5F-F012-8CD177B74541}" name="Brianna Lien" initials="BL" userId="S::brianna.lien@bayer.com::f3b5815a-0702-414c-9464-ffb25822869a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006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F506325F-73C5-4756-84EE-6A2E8195E9E9}" v="1" dt="2025-10-23T11:33:19.859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F2DE63D5-997A-4646-A377-4702673A728D}" styleName="Light Style 2 - Accent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17292A2E-F333-43FB-9621-5CBBE7FDCDCB}" styleName="Light Style 2 - Acc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  <a:tblStyle styleId="{912C8C85-51F0-491E-9774-3900AFEF0FD7}" styleName="Light Style 2 - Accent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989" autoAdjust="0"/>
    <p:restoredTop sz="87037" autoAdjust="0"/>
  </p:normalViewPr>
  <p:slideViewPr>
    <p:cSldViewPr snapToGrid="0">
      <p:cViewPr varScale="1">
        <p:scale>
          <a:sx n="96" d="100"/>
          <a:sy n="96" d="100"/>
        </p:scale>
        <p:origin x="1092" y="9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viewProps" Target="viewProps.xml"/><Relationship Id="rId18" Type="http://schemas.microsoft.com/office/2018/10/relationships/authors" Target="authors.xml"/><Relationship Id="rId3" Type="http://schemas.openxmlformats.org/officeDocument/2006/relationships/customXml" Target="../customXml/item3.xml"/><Relationship Id="rId7" Type="http://schemas.openxmlformats.org/officeDocument/2006/relationships/slideMaster" Target="slideMasters/slideMaster3.xml"/><Relationship Id="rId12" Type="http://schemas.openxmlformats.org/officeDocument/2006/relationships/presProps" Target="presProps.xml"/><Relationship Id="rId17" Type="http://schemas.microsoft.com/office/2015/10/relationships/revisionInfo" Target="revisionInfo.xml"/><Relationship Id="rId2" Type="http://schemas.openxmlformats.org/officeDocument/2006/relationships/customXml" Target="../customXml/item2.xml"/><Relationship Id="rId16" Type="http://schemas.microsoft.com/office/2016/11/relationships/changesInfo" Target="changesInfos/changesInfo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2.xml"/><Relationship Id="rId11" Type="http://schemas.openxmlformats.org/officeDocument/2006/relationships/notesMaster" Target="notesMasters/notesMaster1.xml"/><Relationship Id="rId5" Type="http://schemas.openxmlformats.org/officeDocument/2006/relationships/slideMaster" Target="slideMasters/slideMaster1.xml"/><Relationship Id="rId15" Type="http://schemas.openxmlformats.org/officeDocument/2006/relationships/tableStyles" Target="tableStyles.xml"/><Relationship Id="rId10" Type="http://schemas.openxmlformats.org/officeDocument/2006/relationships/slide" Target="slides/slide3.xml"/><Relationship Id="rId4" Type="http://schemas.openxmlformats.org/officeDocument/2006/relationships/customXml" Target="../customXml/item4.xml"/><Relationship Id="rId9" Type="http://schemas.openxmlformats.org/officeDocument/2006/relationships/slide" Target="slides/slide2.xml"/><Relationship Id="rId14" Type="http://schemas.openxmlformats.org/officeDocument/2006/relationships/theme" Target="theme/theme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Brianna Lien" userId="f3b5815a-0702-414c-9464-ffb25822869a" providerId="ADAL" clId="{80ABF9A1-73C1-4B81-9F8B-969E5B7CC65F}"/>
    <pc:docChg chg="custSel addSld delSld modSld sldOrd delMainMaster">
      <pc:chgData name="Brianna Lien" userId="f3b5815a-0702-414c-9464-ffb25822869a" providerId="ADAL" clId="{80ABF9A1-73C1-4B81-9F8B-969E5B7CC65F}" dt="2024-06-05T10:07:26.636" v="1411" actId="20577"/>
      <pc:docMkLst>
        <pc:docMk/>
      </pc:docMkLst>
      <pc:sldChg chg="del">
        <pc:chgData name="Brianna Lien" userId="f3b5815a-0702-414c-9464-ffb25822869a" providerId="ADAL" clId="{80ABF9A1-73C1-4B81-9F8B-969E5B7CC65F}" dt="2024-05-29T13:01:14.616" v="0" actId="47"/>
        <pc:sldMkLst>
          <pc:docMk/>
          <pc:sldMk cId="3488754185" sldId="256"/>
        </pc:sldMkLst>
      </pc:sldChg>
      <pc:sldChg chg="del">
        <pc:chgData name="Brianna Lien" userId="f3b5815a-0702-414c-9464-ffb25822869a" providerId="ADAL" clId="{80ABF9A1-73C1-4B81-9F8B-969E5B7CC65F}" dt="2024-05-29T13:01:15.998" v="2" actId="47"/>
        <pc:sldMkLst>
          <pc:docMk/>
          <pc:sldMk cId="2359098254" sldId="257"/>
        </pc:sldMkLst>
      </pc:sldChg>
      <pc:sldChg chg="del">
        <pc:chgData name="Brianna Lien" userId="f3b5815a-0702-414c-9464-ffb25822869a" providerId="ADAL" clId="{80ABF9A1-73C1-4B81-9F8B-969E5B7CC65F}" dt="2024-05-29T13:01:18.392" v="3" actId="47"/>
        <pc:sldMkLst>
          <pc:docMk/>
          <pc:sldMk cId="3143414294" sldId="258"/>
        </pc:sldMkLst>
      </pc:sldChg>
      <pc:sldChg chg="addSp delSp modSp mod">
        <pc:chgData name="Brianna Lien" userId="f3b5815a-0702-414c-9464-ffb25822869a" providerId="ADAL" clId="{80ABF9A1-73C1-4B81-9F8B-969E5B7CC65F}" dt="2024-06-05T10:07:26.636" v="1411" actId="20577"/>
        <pc:sldMkLst>
          <pc:docMk/>
          <pc:sldMk cId="2652259109" sldId="277"/>
        </pc:sldMkLst>
      </pc:sldChg>
      <pc:sldChg chg="addSp modSp mod modNotesTx">
        <pc:chgData name="Brianna Lien" userId="f3b5815a-0702-414c-9464-ffb25822869a" providerId="ADAL" clId="{80ABF9A1-73C1-4B81-9F8B-969E5B7CC65F}" dt="2024-06-04T15:52:42.751" v="1188"/>
        <pc:sldMkLst>
          <pc:docMk/>
          <pc:sldMk cId="96322911" sldId="301"/>
        </pc:sldMkLst>
      </pc:sldChg>
      <pc:sldChg chg="addSp modSp mod">
        <pc:chgData name="Brianna Lien" userId="f3b5815a-0702-414c-9464-ffb25822869a" providerId="ADAL" clId="{80ABF9A1-73C1-4B81-9F8B-969E5B7CC65F}" dt="2024-05-29T16:17:56.819" v="829" actId="207"/>
        <pc:sldMkLst>
          <pc:docMk/>
          <pc:sldMk cId="2477321240" sldId="302"/>
        </pc:sldMkLst>
      </pc:sldChg>
      <pc:sldChg chg="addSp modSp mod ord modNotesTx">
        <pc:chgData name="Brianna Lien" userId="f3b5815a-0702-414c-9464-ffb25822869a" providerId="ADAL" clId="{80ABF9A1-73C1-4B81-9F8B-969E5B7CC65F}" dt="2024-06-05T10:04:50.521" v="1345" actId="1037"/>
        <pc:sldMkLst>
          <pc:docMk/>
          <pc:sldMk cId="1763847388" sldId="909"/>
        </pc:sldMkLst>
      </pc:sldChg>
      <pc:sldChg chg="addSp modSp mod">
        <pc:chgData name="Brianna Lien" userId="f3b5815a-0702-414c-9464-ffb25822869a" providerId="ADAL" clId="{80ABF9A1-73C1-4B81-9F8B-969E5B7CC65F}" dt="2024-06-05T09:58:01.516" v="1318" actId="1037"/>
        <pc:sldMkLst>
          <pc:docMk/>
          <pc:sldMk cId="2551951913" sldId="911"/>
        </pc:sldMkLst>
      </pc:sldChg>
      <pc:sldChg chg="addSp modSp mod ord">
        <pc:chgData name="Brianna Lien" userId="f3b5815a-0702-414c-9464-ffb25822869a" providerId="ADAL" clId="{80ABF9A1-73C1-4B81-9F8B-969E5B7CC65F}" dt="2024-06-05T09:58:12.996" v="1319" actId="1076"/>
        <pc:sldMkLst>
          <pc:docMk/>
          <pc:sldMk cId="4066212355" sldId="2147375221"/>
        </pc:sldMkLst>
      </pc:sldChg>
      <pc:sldChg chg="addSp delSp modSp mod modNotesTx">
        <pc:chgData name="Brianna Lien" userId="f3b5815a-0702-414c-9464-ffb25822869a" providerId="ADAL" clId="{80ABF9A1-73C1-4B81-9F8B-969E5B7CC65F}" dt="2024-06-05T10:02:07.679" v="1320" actId="947"/>
        <pc:sldMkLst>
          <pc:docMk/>
          <pc:sldMk cId="363803934" sldId="2147469893"/>
        </pc:sldMkLst>
      </pc:sldChg>
      <pc:sldChg chg="del">
        <pc:chgData name="Brianna Lien" userId="f3b5815a-0702-414c-9464-ffb25822869a" providerId="ADAL" clId="{80ABF9A1-73C1-4B81-9F8B-969E5B7CC65F}" dt="2024-05-29T13:01:15.281" v="1" actId="47"/>
        <pc:sldMkLst>
          <pc:docMk/>
          <pc:sldMk cId="1982613756" sldId="2147469918"/>
        </pc:sldMkLst>
      </pc:sldChg>
      <pc:sldChg chg="addSp modSp mod">
        <pc:chgData name="Brianna Lien" userId="f3b5815a-0702-414c-9464-ffb25822869a" providerId="ADAL" clId="{80ABF9A1-73C1-4B81-9F8B-969E5B7CC65F}" dt="2024-05-29T16:04:01.526" v="814" actId="123"/>
        <pc:sldMkLst>
          <pc:docMk/>
          <pc:sldMk cId="550996224" sldId="2147469922"/>
        </pc:sldMkLst>
      </pc:sldChg>
      <pc:sldChg chg="addSp delSp modSp mod">
        <pc:chgData name="Brianna Lien" userId="f3b5815a-0702-414c-9464-ffb25822869a" providerId="ADAL" clId="{80ABF9A1-73C1-4B81-9F8B-969E5B7CC65F}" dt="2024-05-29T15:53:13.026" v="757" actId="1035"/>
        <pc:sldMkLst>
          <pc:docMk/>
          <pc:sldMk cId="2927679592" sldId="2147469924"/>
        </pc:sldMkLst>
      </pc:sldChg>
      <pc:sldChg chg="addSp delSp modSp mod">
        <pc:chgData name="Brianna Lien" userId="f3b5815a-0702-414c-9464-ffb25822869a" providerId="ADAL" clId="{80ABF9A1-73C1-4B81-9F8B-969E5B7CC65F}" dt="2024-06-04T15:55:41.280" v="1255" actId="255"/>
        <pc:sldMkLst>
          <pc:docMk/>
          <pc:sldMk cId="3840920783" sldId="2147469925"/>
        </pc:sldMkLst>
      </pc:sldChg>
      <pc:sldChg chg="addSp delSp modSp mod">
        <pc:chgData name="Brianna Lien" userId="f3b5815a-0702-414c-9464-ffb25822869a" providerId="ADAL" clId="{80ABF9A1-73C1-4B81-9F8B-969E5B7CC65F}" dt="2024-06-04T15:43:03.935" v="1185" actId="20577"/>
        <pc:sldMkLst>
          <pc:docMk/>
          <pc:sldMk cId="3200755068" sldId="2147469927"/>
        </pc:sldMkLst>
      </pc:sldChg>
      <pc:sldChg chg="addSp delSp modSp mod">
        <pc:chgData name="Brianna Lien" userId="f3b5815a-0702-414c-9464-ffb25822869a" providerId="ADAL" clId="{80ABF9A1-73C1-4B81-9F8B-969E5B7CC65F}" dt="2024-06-05T09:57:40.594" v="1272" actId="1076"/>
        <pc:sldMkLst>
          <pc:docMk/>
          <pc:sldMk cId="2698767485" sldId="2147469928"/>
        </pc:sldMkLst>
      </pc:sldChg>
      <pc:sldChg chg="addSp delSp modSp del mod">
        <pc:chgData name="Brianna Lien" userId="f3b5815a-0702-414c-9464-ffb25822869a" providerId="ADAL" clId="{80ABF9A1-73C1-4B81-9F8B-969E5B7CC65F}" dt="2024-06-04T15:55:01.537" v="1241" actId="47"/>
        <pc:sldMkLst>
          <pc:docMk/>
          <pc:sldMk cId="3465896249" sldId="2147469929"/>
        </pc:sldMkLst>
      </pc:sldChg>
      <pc:sldChg chg="addSp modSp mod ord delCm modNotesTx">
        <pc:chgData name="Brianna Lien" userId="f3b5815a-0702-414c-9464-ffb25822869a" providerId="ADAL" clId="{80ABF9A1-73C1-4B81-9F8B-969E5B7CC65F}" dt="2024-06-04T14:48:48.424" v="1035" actId="207"/>
        <pc:sldMkLst>
          <pc:docMk/>
          <pc:sldMk cId="36038396" sldId="2147469930"/>
        </pc:sldMkLst>
        <pc:extLst>
          <p:ext xmlns:p="http://schemas.openxmlformats.org/presentationml/2006/main" uri="{D6D511B9-2390-475A-947B-AFAB55BFBCF1}">
            <pc226:cmChg xmlns:pc226="http://schemas.microsoft.com/office/powerpoint/2022/06/main/command" chg="del">
              <pc226:chgData name="Brianna Lien" userId="f3b5815a-0702-414c-9464-ffb25822869a" providerId="ADAL" clId="{80ABF9A1-73C1-4B81-9F8B-969E5B7CC65F}" dt="2024-05-29T13:11:29.408" v="19"/>
              <pc2:cmMkLst xmlns:pc2="http://schemas.microsoft.com/office/powerpoint/2019/9/main/command">
                <pc:docMk/>
                <pc:sldMk cId="36038396" sldId="2147469930"/>
                <pc2:cmMk id="{9C8ECE3E-1129-42BB-8793-6143F89A6576}"/>
              </pc2:cmMkLst>
            </pc226:cmChg>
          </p:ext>
        </pc:extLst>
      </pc:sldChg>
      <pc:sldChg chg="addSp modSp mod">
        <pc:chgData name="Brianna Lien" userId="f3b5815a-0702-414c-9464-ffb25822869a" providerId="ADAL" clId="{80ABF9A1-73C1-4B81-9F8B-969E5B7CC65F}" dt="2024-05-29T15:53:51.626" v="782" actId="1035"/>
        <pc:sldMkLst>
          <pc:docMk/>
          <pc:sldMk cId="2475446499" sldId="2147469931"/>
        </pc:sldMkLst>
      </pc:sldChg>
      <pc:sldChg chg="addSp modSp mod">
        <pc:chgData name="Brianna Lien" userId="f3b5815a-0702-414c-9464-ffb25822869a" providerId="ADAL" clId="{80ABF9A1-73C1-4B81-9F8B-969E5B7CC65F}" dt="2024-06-04T14:58:55.936" v="1040"/>
        <pc:sldMkLst>
          <pc:docMk/>
          <pc:sldMk cId="3491936847" sldId="2147469932"/>
        </pc:sldMkLst>
      </pc:sldChg>
      <pc:sldChg chg="addSp delSp modSp add mod">
        <pc:chgData name="Brianna Lien" userId="f3b5815a-0702-414c-9464-ffb25822869a" providerId="ADAL" clId="{80ABF9A1-73C1-4B81-9F8B-969E5B7CC65F}" dt="2024-06-04T15:55:22.631" v="1254" actId="1036"/>
        <pc:sldMkLst>
          <pc:docMk/>
          <pc:sldMk cId="1704104141" sldId="2147469933"/>
        </pc:sldMkLst>
      </pc:sldChg>
      <pc:sldMasterChg chg="del delSldLayout">
        <pc:chgData name="Brianna Lien" userId="f3b5815a-0702-414c-9464-ffb25822869a" providerId="ADAL" clId="{80ABF9A1-73C1-4B81-9F8B-969E5B7CC65F}" dt="2024-05-29T13:01:18.392" v="3" actId="47"/>
        <pc:sldMasterMkLst>
          <pc:docMk/>
          <pc:sldMasterMk cId="1403789739" sldId="2147483648"/>
        </pc:sldMasterMkLst>
        <pc:sldLayoutChg chg="del">
          <pc:chgData name="Brianna Lien" userId="f3b5815a-0702-414c-9464-ffb25822869a" providerId="ADAL" clId="{80ABF9A1-73C1-4B81-9F8B-969E5B7CC65F}" dt="2024-05-29T13:01:18.392" v="3" actId="47"/>
          <pc:sldLayoutMkLst>
            <pc:docMk/>
            <pc:sldMasterMk cId="1403789739" sldId="2147483648"/>
            <pc:sldLayoutMk cId="2904089044" sldId="2147483649"/>
          </pc:sldLayoutMkLst>
        </pc:sldLayoutChg>
        <pc:sldLayoutChg chg="del">
          <pc:chgData name="Brianna Lien" userId="f3b5815a-0702-414c-9464-ffb25822869a" providerId="ADAL" clId="{80ABF9A1-73C1-4B81-9F8B-969E5B7CC65F}" dt="2024-05-29T13:01:18.392" v="3" actId="47"/>
          <pc:sldLayoutMkLst>
            <pc:docMk/>
            <pc:sldMasterMk cId="1403789739" sldId="2147483648"/>
            <pc:sldLayoutMk cId="1306908899" sldId="2147483650"/>
          </pc:sldLayoutMkLst>
        </pc:sldLayoutChg>
        <pc:sldLayoutChg chg="del">
          <pc:chgData name="Brianna Lien" userId="f3b5815a-0702-414c-9464-ffb25822869a" providerId="ADAL" clId="{80ABF9A1-73C1-4B81-9F8B-969E5B7CC65F}" dt="2024-05-29T13:01:18.392" v="3" actId="47"/>
          <pc:sldLayoutMkLst>
            <pc:docMk/>
            <pc:sldMasterMk cId="1403789739" sldId="2147483648"/>
            <pc:sldLayoutMk cId="206963554" sldId="2147483651"/>
          </pc:sldLayoutMkLst>
        </pc:sldLayoutChg>
        <pc:sldLayoutChg chg="del">
          <pc:chgData name="Brianna Lien" userId="f3b5815a-0702-414c-9464-ffb25822869a" providerId="ADAL" clId="{80ABF9A1-73C1-4B81-9F8B-969E5B7CC65F}" dt="2024-05-29T13:01:18.392" v="3" actId="47"/>
          <pc:sldLayoutMkLst>
            <pc:docMk/>
            <pc:sldMasterMk cId="1403789739" sldId="2147483648"/>
            <pc:sldLayoutMk cId="3252154894" sldId="2147483652"/>
          </pc:sldLayoutMkLst>
        </pc:sldLayoutChg>
        <pc:sldLayoutChg chg="del">
          <pc:chgData name="Brianna Lien" userId="f3b5815a-0702-414c-9464-ffb25822869a" providerId="ADAL" clId="{80ABF9A1-73C1-4B81-9F8B-969E5B7CC65F}" dt="2024-05-29T13:01:18.392" v="3" actId="47"/>
          <pc:sldLayoutMkLst>
            <pc:docMk/>
            <pc:sldMasterMk cId="1403789739" sldId="2147483648"/>
            <pc:sldLayoutMk cId="1910511342" sldId="2147483653"/>
          </pc:sldLayoutMkLst>
        </pc:sldLayoutChg>
        <pc:sldLayoutChg chg="del">
          <pc:chgData name="Brianna Lien" userId="f3b5815a-0702-414c-9464-ffb25822869a" providerId="ADAL" clId="{80ABF9A1-73C1-4B81-9F8B-969E5B7CC65F}" dt="2024-05-29T13:01:18.392" v="3" actId="47"/>
          <pc:sldLayoutMkLst>
            <pc:docMk/>
            <pc:sldMasterMk cId="1403789739" sldId="2147483648"/>
            <pc:sldLayoutMk cId="2911273252" sldId="2147483654"/>
          </pc:sldLayoutMkLst>
        </pc:sldLayoutChg>
        <pc:sldLayoutChg chg="del">
          <pc:chgData name="Brianna Lien" userId="f3b5815a-0702-414c-9464-ffb25822869a" providerId="ADAL" clId="{80ABF9A1-73C1-4B81-9F8B-969E5B7CC65F}" dt="2024-05-29T13:01:18.392" v="3" actId="47"/>
          <pc:sldLayoutMkLst>
            <pc:docMk/>
            <pc:sldMasterMk cId="1403789739" sldId="2147483648"/>
            <pc:sldLayoutMk cId="697311178" sldId="2147483655"/>
          </pc:sldLayoutMkLst>
        </pc:sldLayoutChg>
        <pc:sldLayoutChg chg="del">
          <pc:chgData name="Brianna Lien" userId="f3b5815a-0702-414c-9464-ffb25822869a" providerId="ADAL" clId="{80ABF9A1-73C1-4B81-9F8B-969E5B7CC65F}" dt="2024-05-29T13:01:18.392" v="3" actId="47"/>
          <pc:sldLayoutMkLst>
            <pc:docMk/>
            <pc:sldMasterMk cId="1403789739" sldId="2147483648"/>
            <pc:sldLayoutMk cId="1798913766" sldId="2147483656"/>
          </pc:sldLayoutMkLst>
        </pc:sldLayoutChg>
        <pc:sldLayoutChg chg="del">
          <pc:chgData name="Brianna Lien" userId="f3b5815a-0702-414c-9464-ffb25822869a" providerId="ADAL" clId="{80ABF9A1-73C1-4B81-9F8B-969E5B7CC65F}" dt="2024-05-29T13:01:18.392" v="3" actId="47"/>
          <pc:sldLayoutMkLst>
            <pc:docMk/>
            <pc:sldMasterMk cId="1403789739" sldId="2147483648"/>
            <pc:sldLayoutMk cId="3498482370" sldId="2147483657"/>
          </pc:sldLayoutMkLst>
        </pc:sldLayoutChg>
        <pc:sldLayoutChg chg="del">
          <pc:chgData name="Brianna Lien" userId="f3b5815a-0702-414c-9464-ffb25822869a" providerId="ADAL" clId="{80ABF9A1-73C1-4B81-9F8B-969E5B7CC65F}" dt="2024-05-29T13:01:18.392" v="3" actId="47"/>
          <pc:sldLayoutMkLst>
            <pc:docMk/>
            <pc:sldMasterMk cId="1403789739" sldId="2147483648"/>
            <pc:sldLayoutMk cId="2303575071" sldId="2147483658"/>
          </pc:sldLayoutMkLst>
        </pc:sldLayoutChg>
        <pc:sldLayoutChg chg="del">
          <pc:chgData name="Brianna Lien" userId="f3b5815a-0702-414c-9464-ffb25822869a" providerId="ADAL" clId="{80ABF9A1-73C1-4B81-9F8B-969E5B7CC65F}" dt="2024-05-29T13:01:18.392" v="3" actId="47"/>
          <pc:sldLayoutMkLst>
            <pc:docMk/>
            <pc:sldMasterMk cId="1403789739" sldId="2147483648"/>
            <pc:sldLayoutMk cId="3568788579" sldId="2147483659"/>
          </pc:sldLayoutMkLst>
        </pc:sldLayoutChg>
      </pc:sldMasterChg>
    </pc:docChg>
  </pc:docChgLst>
  <pc:docChgLst>
    <pc:chgData name="Brianna Lien" userId="f3b5815a-0702-414c-9464-ffb25822869a" providerId="ADAL" clId="{A5DF8D5A-8DB1-4D40-A212-1462F010E50D}"/>
    <pc:docChg chg="custSel addSld delSld modSld sldOrd delMainMaster">
      <pc:chgData name="Brianna Lien" userId="f3b5815a-0702-414c-9464-ffb25822869a" providerId="ADAL" clId="{A5DF8D5A-8DB1-4D40-A212-1462F010E50D}" dt="2024-05-02T10:54:01.028" v="3383"/>
      <pc:docMkLst>
        <pc:docMk/>
      </pc:docMkLst>
      <pc:sldChg chg="modSp mod">
        <pc:chgData name="Brianna Lien" userId="f3b5815a-0702-414c-9464-ffb25822869a" providerId="ADAL" clId="{A5DF8D5A-8DB1-4D40-A212-1462F010E50D}" dt="2024-04-23T08:29:38.576" v="26" actId="20577"/>
        <pc:sldMkLst>
          <pc:docMk/>
          <pc:sldMk cId="3488754185" sldId="256"/>
        </pc:sldMkLst>
      </pc:sldChg>
      <pc:sldChg chg="modSp new mod">
        <pc:chgData name="Brianna Lien" userId="f3b5815a-0702-414c-9464-ffb25822869a" providerId="ADAL" clId="{A5DF8D5A-8DB1-4D40-A212-1462F010E50D}" dt="2024-04-23T14:40:37.932" v="1607" actId="20577"/>
        <pc:sldMkLst>
          <pc:docMk/>
          <pc:sldMk cId="2359098254" sldId="257"/>
        </pc:sldMkLst>
      </pc:sldChg>
      <pc:sldChg chg="modSp new mod">
        <pc:chgData name="Brianna Lien" userId="f3b5815a-0702-414c-9464-ffb25822869a" providerId="ADAL" clId="{A5DF8D5A-8DB1-4D40-A212-1462F010E50D}" dt="2024-04-24T13:14:42.256" v="2046" actId="27636"/>
        <pc:sldMkLst>
          <pc:docMk/>
          <pc:sldMk cId="3143414294" sldId="258"/>
        </pc:sldMkLst>
      </pc:sldChg>
      <pc:sldChg chg="add">
        <pc:chgData name="Brianna Lien" userId="f3b5815a-0702-414c-9464-ffb25822869a" providerId="ADAL" clId="{A5DF8D5A-8DB1-4D40-A212-1462F010E50D}" dt="2024-05-02T10:54:01.028" v="3383"/>
        <pc:sldMkLst>
          <pc:docMk/>
          <pc:sldMk cId="983440853" sldId="259"/>
        </pc:sldMkLst>
      </pc:sldChg>
      <pc:sldChg chg="add">
        <pc:chgData name="Brianna Lien" userId="f3b5815a-0702-414c-9464-ffb25822869a" providerId="ADAL" clId="{A5DF8D5A-8DB1-4D40-A212-1462F010E50D}" dt="2024-04-24T16:32:45.878" v="3061"/>
        <pc:sldMkLst>
          <pc:docMk/>
          <pc:sldMk cId="1533286221" sldId="276"/>
        </pc:sldMkLst>
      </pc:sldChg>
      <pc:sldChg chg="addSp delSp modSp add mod">
        <pc:chgData name="Brianna Lien" userId="f3b5815a-0702-414c-9464-ffb25822869a" providerId="ADAL" clId="{A5DF8D5A-8DB1-4D40-A212-1462F010E50D}" dt="2024-04-25T11:45:31.625" v="3171"/>
        <pc:sldMkLst>
          <pc:docMk/>
          <pc:sldMk cId="96322911" sldId="301"/>
        </pc:sldMkLst>
      </pc:sldChg>
      <pc:sldChg chg="addSp delSp modSp mod ord">
        <pc:chgData name="Brianna Lien" userId="f3b5815a-0702-414c-9464-ffb25822869a" providerId="ADAL" clId="{A5DF8D5A-8DB1-4D40-A212-1462F010E50D}" dt="2024-05-02T10:51:16.614" v="3380" actId="478"/>
        <pc:sldMkLst>
          <pc:docMk/>
          <pc:sldMk cId="1763847388" sldId="909"/>
        </pc:sldMkLst>
      </pc:sldChg>
      <pc:sldChg chg="del">
        <pc:chgData name="Brianna Lien" userId="f3b5815a-0702-414c-9464-ffb25822869a" providerId="ADAL" clId="{A5DF8D5A-8DB1-4D40-A212-1462F010E50D}" dt="2024-04-25T08:58:02.109" v="3168" actId="47"/>
        <pc:sldMkLst>
          <pc:docMk/>
          <pc:sldMk cId="1000758672" sldId="910"/>
        </pc:sldMkLst>
      </pc:sldChg>
      <pc:sldChg chg="modSp mod ord addCm modCm">
        <pc:chgData name="Brianna Lien" userId="f3b5815a-0702-414c-9464-ffb25822869a" providerId="ADAL" clId="{A5DF8D5A-8DB1-4D40-A212-1462F010E50D}" dt="2024-04-24T14:36:46.604" v="2644" actId="1076"/>
        <pc:sldMkLst>
          <pc:docMk/>
          <pc:sldMk cId="2551951913" sldId="911"/>
        </pc:sldMkLst>
        <pc:extLst>
          <p:ext xmlns:p="http://schemas.openxmlformats.org/presentationml/2006/main" uri="{D6D511B9-2390-475A-947B-AFAB55BFBCF1}">
            <pc226:cmChg xmlns:pc226="http://schemas.microsoft.com/office/powerpoint/2022/06/main/command" chg="add mod">
              <pc226:chgData name="Brianna Lien" userId="f3b5815a-0702-414c-9464-ffb25822869a" providerId="ADAL" clId="{A5DF8D5A-8DB1-4D40-A212-1462F010E50D}" dt="2024-04-24T11:54:18.013" v="1651" actId="2056"/>
              <pc2:cmMkLst xmlns:pc2="http://schemas.microsoft.com/office/powerpoint/2019/9/main/command">
                <pc:docMk/>
                <pc:sldMk cId="2551951913" sldId="911"/>
                <pc2:cmMk id="{933D4E3B-AABE-4F05-8486-557598503C82}"/>
              </pc2:cmMkLst>
            </pc226:cmChg>
          </p:ext>
        </pc:extLst>
      </pc:sldChg>
      <pc:sldChg chg="add del">
        <pc:chgData name="Brianna Lien" userId="f3b5815a-0702-414c-9464-ffb25822869a" providerId="ADAL" clId="{A5DF8D5A-8DB1-4D40-A212-1462F010E50D}" dt="2024-04-29T14:56:56.604" v="3374" actId="47"/>
        <pc:sldMkLst>
          <pc:docMk/>
          <pc:sldMk cId="3231091519" sldId="2147375148"/>
        </pc:sldMkLst>
      </pc:sldChg>
      <pc:sldChg chg="add del">
        <pc:chgData name="Brianna Lien" userId="f3b5815a-0702-414c-9464-ffb25822869a" providerId="ADAL" clId="{A5DF8D5A-8DB1-4D40-A212-1462F010E50D}" dt="2024-04-24T11:54:26.924" v="1652" actId="47"/>
        <pc:sldMkLst>
          <pc:docMk/>
          <pc:sldMk cId="233671491" sldId="2147375150"/>
        </pc:sldMkLst>
      </pc:sldChg>
      <pc:sldChg chg="add">
        <pc:chgData name="Brianna Lien" userId="f3b5815a-0702-414c-9464-ffb25822869a" providerId="ADAL" clId="{A5DF8D5A-8DB1-4D40-A212-1462F010E50D}" dt="2024-04-29T14:03:45.801" v="3276"/>
        <pc:sldMkLst>
          <pc:docMk/>
          <pc:sldMk cId="4066212355" sldId="2147375221"/>
        </pc:sldMkLst>
      </pc:sldChg>
      <pc:sldChg chg="add del">
        <pc:chgData name="Brianna Lien" userId="f3b5815a-0702-414c-9464-ffb25822869a" providerId="ADAL" clId="{A5DF8D5A-8DB1-4D40-A212-1462F010E50D}" dt="2024-04-29T14:03:31.081" v="3275" actId="47"/>
        <pc:sldMkLst>
          <pc:docMk/>
          <pc:sldMk cId="3679438254" sldId="2147375223"/>
        </pc:sldMkLst>
      </pc:sldChg>
      <pc:sldChg chg="addSp delSp modSp add mod">
        <pc:chgData name="Brianna Lien" userId="f3b5815a-0702-414c-9464-ffb25822869a" providerId="ADAL" clId="{A5DF8D5A-8DB1-4D40-A212-1462F010E50D}" dt="2024-04-29T13:57:32.550" v="3273" actId="20577"/>
        <pc:sldMkLst>
          <pc:docMk/>
          <pc:sldMk cId="515246607" sldId="2147469917"/>
        </pc:sldMkLst>
      </pc:sldChg>
      <pc:sldChg chg="modSp new mod">
        <pc:chgData name="Brianna Lien" userId="f3b5815a-0702-414c-9464-ffb25822869a" providerId="ADAL" clId="{A5DF8D5A-8DB1-4D40-A212-1462F010E50D}" dt="2024-04-24T12:49:41.419" v="2043" actId="20577"/>
        <pc:sldMkLst>
          <pc:docMk/>
          <pc:sldMk cId="1982613756" sldId="2147469918"/>
        </pc:sldMkLst>
      </pc:sldChg>
      <pc:sldChg chg="addSp delSp modSp new del mod">
        <pc:chgData name="Brianna Lien" userId="f3b5815a-0702-414c-9464-ffb25822869a" providerId="ADAL" clId="{A5DF8D5A-8DB1-4D40-A212-1462F010E50D}" dt="2024-04-29T14:07:28.001" v="3278" actId="47"/>
        <pc:sldMkLst>
          <pc:docMk/>
          <pc:sldMk cId="3033011014" sldId="2147469919"/>
        </pc:sldMkLst>
      </pc:sldChg>
      <pc:sldChg chg="modSp add mod ord">
        <pc:chgData name="Brianna Lien" userId="f3b5815a-0702-414c-9464-ffb25822869a" providerId="ADAL" clId="{A5DF8D5A-8DB1-4D40-A212-1462F010E50D}" dt="2024-04-24T13:51:39.195" v="2584"/>
        <pc:sldMkLst>
          <pc:docMk/>
          <pc:sldMk cId="2348600632" sldId="2147469920"/>
        </pc:sldMkLst>
      </pc:sldChg>
      <pc:sldChg chg="new del">
        <pc:chgData name="Brianna Lien" userId="f3b5815a-0702-414c-9464-ffb25822869a" providerId="ADAL" clId="{A5DF8D5A-8DB1-4D40-A212-1462F010E50D}" dt="2024-04-24T15:15:00.822" v="2659" actId="47"/>
        <pc:sldMkLst>
          <pc:docMk/>
          <pc:sldMk cId="1692887588" sldId="2147469921"/>
        </pc:sldMkLst>
      </pc:sldChg>
      <pc:sldChg chg="addSp modSp new mod ord modNotesTx">
        <pc:chgData name="Brianna Lien" userId="f3b5815a-0702-414c-9464-ffb25822869a" providerId="ADAL" clId="{A5DF8D5A-8DB1-4D40-A212-1462F010E50D}" dt="2024-04-29T14:44:34.980" v="3373" actId="1076"/>
        <pc:sldMkLst>
          <pc:docMk/>
          <pc:sldMk cId="4169332890" sldId="2147469921"/>
        </pc:sldMkLst>
      </pc:sldChg>
      <pc:sldChg chg="addSp delSp modSp new mod modNotesTx">
        <pc:chgData name="Brianna Lien" userId="f3b5815a-0702-414c-9464-ffb25822869a" providerId="ADAL" clId="{A5DF8D5A-8DB1-4D40-A212-1462F010E50D}" dt="2024-05-02T10:51:29.835" v="3382" actId="1076"/>
        <pc:sldMkLst>
          <pc:docMk/>
          <pc:sldMk cId="550996224" sldId="2147469922"/>
        </pc:sldMkLst>
      </pc:sldChg>
      <pc:sldChg chg="addSp modSp new del mod modNotesTx">
        <pc:chgData name="Brianna Lien" userId="f3b5815a-0702-414c-9464-ffb25822869a" providerId="ADAL" clId="{A5DF8D5A-8DB1-4D40-A212-1462F010E50D}" dt="2024-04-29T14:28:46.936" v="3368" actId="2696"/>
        <pc:sldMkLst>
          <pc:docMk/>
          <pc:sldMk cId="1753043421" sldId="2147469923"/>
        </pc:sldMkLst>
      </pc:sldChg>
      <pc:sldChg chg="add del">
        <pc:chgData name="Brianna Lien" userId="f3b5815a-0702-414c-9464-ffb25822869a" providerId="ADAL" clId="{A5DF8D5A-8DB1-4D40-A212-1462F010E50D}" dt="2024-04-29T14:07:09.620" v="3277" actId="47"/>
        <pc:sldMkLst>
          <pc:docMk/>
          <pc:sldMk cId="788865827" sldId="2147476245"/>
        </pc:sldMkLst>
      </pc:sldChg>
      <pc:sldMasterChg chg="delSldLayout">
        <pc:chgData name="Brianna Lien" userId="f3b5815a-0702-414c-9464-ffb25822869a" providerId="ADAL" clId="{A5DF8D5A-8DB1-4D40-A212-1462F010E50D}" dt="2024-04-29T14:28:46.936" v="3368" actId="2696"/>
        <pc:sldMasterMkLst>
          <pc:docMk/>
          <pc:sldMasterMk cId="3277864969" sldId="2147483660"/>
        </pc:sldMasterMkLst>
        <pc:sldLayoutChg chg="del">
          <pc:chgData name="Brianna Lien" userId="f3b5815a-0702-414c-9464-ffb25822869a" providerId="ADAL" clId="{A5DF8D5A-8DB1-4D40-A212-1462F010E50D}" dt="2024-04-29T14:28:46.936" v="3368" actId="2696"/>
          <pc:sldLayoutMkLst>
            <pc:docMk/>
            <pc:sldMasterMk cId="3277864969" sldId="2147483660"/>
            <pc:sldLayoutMk cId="3513607046" sldId="2147483676"/>
          </pc:sldLayoutMkLst>
        </pc:sldLayoutChg>
      </pc:sldMasterChg>
      <pc:sldMasterChg chg="delSldLayout">
        <pc:chgData name="Brianna Lien" userId="f3b5815a-0702-414c-9464-ffb25822869a" providerId="ADAL" clId="{A5DF8D5A-8DB1-4D40-A212-1462F010E50D}" dt="2024-04-29T14:07:09.620" v="3277" actId="47"/>
        <pc:sldMasterMkLst>
          <pc:docMk/>
          <pc:sldMasterMk cId="2558327562" sldId="2147483707"/>
        </pc:sldMasterMkLst>
        <pc:sldLayoutChg chg="del">
          <pc:chgData name="Brianna Lien" userId="f3b5815a-0702-414c-9464-ffb25822869a" providerId="ADAL" clId="{A5DF8D5A-8DB1-4D40-A212-1462F010E50D}" dt="2024-04-29T14:07:09.620" v="3277" actId="47"/>
          <pc:sldLayoutMkLst>
            <pc:docMk/>
            <pc:sldMasterMk cId="2558327562" sldId="2147483707"/>
            <pc:sldLayoutMk cId="3442254273" sldId="2147483751"/>
          </pc:sldLayoutMkLst>
        </pc:sldLayoutChg>
      </pc:sldMasterChg>
      <pc:sldMasterChg chg="del delSldLayout">
        <pc:chgData name="Brianna Lien" userId="f3b5815a-0702-414c-9464-ffb25822869a" providerId="ADAL" clId="{A5DF8D5A-8DB1-4D40-A212-1462F010E50D}" dt="2024-04-29T14:56:56.604" v="3374" actId="47"/>
        <pc:sldMasterMkLst>
          <pc:docMk/>
          <pc:sldMasterMk cId="2407045559" sldId="2147483720"/>
        </pc:sldMasterMkLst>
        <pc:sldLayoutChg chg="del">
          <pc:chgData name="Brianna Lien" userId="f3b5815a-0702-414c-9464-ffb25822869a" providerId="ADAL" clId="{A5DF8D5A-8DB1-4D40-A212-1462F010E50D}" dt="2024-04-29T14:56:56.604" v="3374" actId="47"/>
          <pc:sldLayoutMkLst>
            <pc:docMk/>
            <pc:sldMasterMk cId="2407045559" sldId="2147483720"/>
            <pc:sldLayoutMk cId="853328882" sldId="2147483721"/>
          </pc:sldLayoutMkLst>
        </pc:sldLayoutChg>
        <pc:sldLayoutChg chg="del">
          <pc:chgData name="Brianna Lien" userId="f3b5815a-0702-414c-9464-ffb25822869a" providerId="ADAL" clId="{A5DF8D5A-8DB1-4D40-A212-1462F010E50D}" dt="2024-04-29T14:56:56.604" v="3374" actId="47"/>
          <pc:sldLayoutMkLst>
            <pc:docMk/>
            <pc:sldMasterMk cId="2407045559" sldId="2147483720"/>
            <pc:sldLayoutMk cId="1240335581" sldId="2147483722"/>
          </pc:sldLayoutMkLst>
        </pc:sldLayoutChg>
        <pc:sldLayoutChg chg="del">
          <pc:chgData name="Brianna Lien" userId="f3b5815a-0702-414c-9464-ffb25822869a" providerId="ADAL" clId="{A5DF8D5A-8DB1-4D40-A212-1462F010E50D}" dt="2024-04-29T14:56:56.604" v="3374" actId="47"/>
          <pc:sldLayoutMkLst>
            <pc:docMk/>
            <pc:sldMasterMk cId="2407045559" sldId="2147483720"/>
            <pc:sldLayoutMk cId="2400176243" sldId="2147483723"/>
          </pc:sldLayoutMkLst>
        </pc:sldLayoutChg>
        <pc:sldLayoutChg chg="del">
          <pc:chgData name="Brianna Lien" userId="f3b5815a-0702-414c-9464-ffb25822869a" providerId="ADAL" clId="{A5DF8D5A-8DB1-4D40-A212-1462F010E50D}" dt="2024-04-29T14:56:56.604" v="3374" actId="47"/>
          <pc:sldLayoutMkLst>
            <pc:docMk/>
            <pc:sldMasterMk cId="2407045559" sldId="2147483720"/>
            <pc:sldLayoutMk cId="2518246088" sldId="2147483724"/>
          </pc:sldLayoutMkLst>
        </pc:sldLayoutChg>
        <pc:sldLayoutChg chg="del">
          <pc:chgData name="Brianna Lien" userId="f3b5815a-0702-414c-9464-ffb25822869a" providerId="ADAL" clId="{A5DF8D5A-8DB1-4D40-A212-1462F010E50D}" dt="2024-04-29T14:56:56.604" v="3374" actId="47"/>
          <pc:sldLayoutMkLst>
            <pc:docMk/>
            <pc:sldMasterMk cId="2407045559" sldId="2147483720"/>
            <pc:sldLayoutMk cId="4228093715" sldId="2147483725"/>
          </pc:sldLayoutMkLst>
        </pc:sldLayoutChg>
        <pc:sldLayoutChg chg="del">
          <pc:chgData name="Brianna Lien" userId="f3b5815a-0702-414c-9464-ffb25822869a" providerId="ADAL" clId="{A5DF8D5A-8DB1-4D40-A212-1462F010E50D}" dt="2024-04-29T14:56:56.604" v="3374" actId="47"/>
          <pc:sldLayoutMkLst>
            <pc:docMk/>
            <pc:sldMasterMk cId="2407045559" sldId="2147483720"/>
            <pc:sldLayoutMk cId="3308567295" sldId="2147483726"/>
          </pc:sldLayoutMkLst>
        </pc:sldLayoutChg>
        <pc:sldLayoutChg chg="del">
          <pc:chgData name="Brianna Lien" userId="f3b5815a-0702-414c-9464-ffb25822869a" providerId="ADAL" clId="{A5DF8D5A-8DB1-4D40-A212-1462F010E50D}" dt="2024-04-29T14:56:56.604" v="3374" actId="47"/>
          <pc:sldLayoutMkLst>
            <pc:docMk/>
            <pc:sldMasterMk cId="2407045559" sldId="2147483720"/>
            <pc:sldLayoutMk cId="622422321" sldId="2147483727"/>
          </pc:sldLayoutMkLst>
        </pc:sldLayoutChg>
        <pc:sldLayoutChg chg="del">
          <pc:chgData name="Brianna Lien" userId="f3b5815a-0702-414c-9464-ffb25822869a" providerId="ADAL" clId="{A5DF8D5A-8DB1-4D40-A212-1462F010E50D}" dt="2024-04-29T14:56:56.604" v="3374" actId="47"/>
          <pc:sldLayoutMkLst>
            <pc:docMk/>
            <pc:sldMasterMk cId="2407045559" sldId="2147483720"/>
            <pc:sldLayoutMk cId="3326908505" sldId="2147483728"/>
          </pc:sldLayoutMkLst>
        </pc:sldLayoutChg>
        <pc:sldLayoutChg chg="del">
          <pc:chgData name="Brianna Lien" userId="f3b5815a-0702-414c-9464-ffb25822869a" providerId="ADAL" clId="{A5DF8D5A-8DB1-4D40-A212-1462F010E50D}" dt="2024-04-29T14:56:56.604" v="3374" actId="47"/>
          <pc:sldLayoutMkLst>
            <pc:docMk/>
            <pc:sldMasterMk cId="2407045559" sldId="2147483720"/>
            <pc:sldLayoutMk cId="4021199614" sldId="2147483729"/>
          </pc:sldLayoutMkLst>
        </pc:sldLayoutChg>
        <pc:sldLayoutChg chg="del">
          <pc:chgData name="Brianna Lien" userId="f3b5815a-0702-414c-9464-ffb25822869a" providerId="ADAL" clId="{A5DF8D5A-8DB1-4D40-A212-1462F010E50D}" dt="2024-04-29T14:56:56.604" v="3374" actId="47"/>
          <pc:sldLayoutMkLst>
            <pc:docMk/>
            <pc:sldMasterMk cId="2407045559" sldId="2147483720"/>
            <pc:sldLayoutMk cId="3596890814" sldId="2147483730"/>
          </pc:sldLayoutMkLst>
        </pc:sldLayoutChg>
        <pc:sldLayoutChg chg="del">
          <pc:chgData name="Brianna Lien" userId="f3b5815a-0702-414c-9464-ffb25822869a" providerId="ADAL" clId="{A5DF8D5A-8DB1-4D40-A212-1462F010E50D}" dt="2024-04-29T14:56:56.604" v="3374" actId="47"/>
          <pc:sldLayoutMkLst>
            <pc:docMk/>
            <pc:sldMasterMk cId="2407045559" sldId="2147483720"/>
            <pc:sldLayoutMk cId="2239644897" sldId="2147483731"/>
          </pc:sldLayoutMkLst>
        </pc:sldLayoutChg>
        <pc:sldLayoutChg chg="del">
          <pc:chgData name="Brianna Lien" userId="f3b5815a-0702-414c-9464-ffb25822869a" providerId="ADAL" clId="{A5DF8D5A-8DB1-4D40-A212-1462F010E50D}" dt="2024-04-29T14:56:56.604" v="3374" actId="47"/>
          <pc:sldLayoutMkLst>
            <pc:docMk/>
            <pc:sldMasterMk cId="2407045559" sldId="2147483720"/>
            <pc:sldLayoutMk cId="912023760" sldId="2147483732"/>
          </pc:sldLayoutMkLst>
        </pc:sldLayoutChg>
        <pc:sldLayoutChg chg="del">
          <pc:chgData name="Brianna Lien" userId="f3b5815a-0702-414c-9464-ffb25822869a" providerId="ADAL" clId="{A5DF8D5A-8DB1-4D40-A212-1462F010E50D}" dt="2024-04-29T14:56:56.604" v="3374" actId="47"/>
          <pc:sldLayoutMkLst>
            <pc:docMk/>
            <pc:sldMasterMk cId="2407045559" sldId="2147483720"/>
            <pc:sldLayoutMk cId="1288507273" sldId="2147483733"/>
          </pc:sldLayoutMkLst>
        </pc:sldLayoutChg>
        <pc:sldLayoutChg chg="del">
          <pc:chgData name="Brianna Lien" userId="f3b5815a-0702-414c-9464-ffb25822869a" providerId="ADAL" clId="{A5DF8D5A-8DB1-4D40-A212-1462F010E50D}" dt="2024-04-29T14:56:56.604" v="3374" actId="47"/>
          <pc:sldLayoutMkLst>
            <pc:docMk/>
            <pc:sldMasterMk cId="2407045559" sldId="2147483720"/>
            <pc:sldLayoutMk cId="3991368294" sldId="2147483734"/>
          </pc:sldLayoutMkLst>
        </pc:sldLayoutChg>
        <pc:sldLayoutChg chg="del">
          <pc:chgData name="Brianna Lien" userId="f3b5815a-0702-414c-9464-ffb25822869a" providerId="ADAL" clId="{A5DF8D5A-8DB1-4D40-A212-1462F010E50D}" dt="2024-04-29T14:56:56.604" v="3374" actId="47"/>
          <pc:sldLayoutMkLst>
            <pc:docMk/>
            <pc:sldMasterMk cId="2407045559" sldId="2147483720"/>
            <pc:sldLayoutMk cId="408002058" sldId="2147483735"/>
          </pc:sldLayoutMkLst>
        </pc:sldLayoutChg>
      </pc:sldMasterChg>
    </pc:docChg>
  </pc:docChgLst>
  <pc:docChgLst>
    <pc:chgData name="Brianna Lien" userId="f3b5815a-0702-414c-9464-ffb25822869a" providerId="ADAL" clId="{3466407B-302F-482A-8AAE-3B7C23DE9C24}"/>
    <pc:docChg chg="custSel modSld">
      <pc:chgData name="Brianna Lien" userId="f3b5815a-0702-414c-9464-ffb25822869a" providerId="ADAL" clId="{3466407B-302F-482A-8AAE-3B7C23DE9C24}" dt="2025-05-13T08:58:10.509" v="6" actId="20577"/>
      <pc:docMkLst>
        <pc:docMk/>
      </pc:docMkLst>
      <pc:sldChg chg="modSp mod">
        <pc:chgData name="Brianna Lien" userId="f3b5815a-0702-414c-9464-ffb25822869a" providerId="ADAL" clId="{3466407B-302F-482A-8AAE-3B7C23DE9C24}" dt="2025-05-13T08:53:45.855" v="2" actId="207"/>
        <pc:sldMkLst>
          <pc:docMk/>
          <pc:sldMk cId="3824440216" sldId="2147469931"/>
        </pc:sldMkLst>
      </pc:sldChg>
      <pc:sldChg chg="modSp mod">
        <pc:chgData name="Brianna Lien" userId="f3b5815a-0702-414c-9464-ffb25822869a" providerId="ADAL" clId="{3466407B-302F-482A-8AAE-3B7C23DE9C24}" dt="2025-05-13T08:58:10.509" v="6" actId="20577"/>
        <pc:sldMkLst>
          <pc:docMk/>
          <pc:sldMk cId="973466118" sldId="2147469933"/>
        </pc:sldMkLst>
      </pc:sldChg>
    </pc:docChg>
  </pc:docChgLst>
  <pc:docChgLst>
    <pc:chgData name="Brianna Lien" userId="f3b5815a-0702-414c-9464-ffb25822869a" providerId="ADAL" clId="{EE436324-6274-427C-A630-1CFEE9136FC3}"/>
    <pc:docChg chg="modSld">
      <pc:chgData name="Brianna Lien" userId="f3b5815a-0702-414c-9464-ffb25822869a" providerId="ADAL" clId="{EE436324-6274-427C-A630-1CFEE9136FC3}" dt="2025-10-23T11:36:58.778" v="37" actId="20577"/>
      <pc:docMkLst>
        <pc:docMk/>
      </pc:docMkLst>
      <pc:sldChg chg="modSp mod">
        <pc:chgData name="Brianna Lien" userId="f3b5815a-0702-414c-9464-ffb25822869a" providerId="ADAL" clId="{EE436324-6274-427C-A630-1CFEE9136FC3}" dt="2025-10-23T11:36:58.778" v="37" actId="20577"/>
        <pc:sldMkLst>
          <pc:docMk/>
          <pc:sldMk cId="973466118" sldId="2147469933"/>
        </pc:sldMkLst>
        <pc:spChg chg="mod">
          <ac:chgData name="Brianna Lien" userId="f3b5815a-0702-414c-9464-ffb25822869a" providerId="ADAL" clId="{EE436324-6274-427C-A630-1CFEE9136FC3}" dt="2025-10-23T11:34:10.786" v="28" actId="20577"/>
          <ac:spMkLst>
            <pc:docMk/>
            <pc:sldMk cId="973466118" sldId="2147469933"/>
            <ac:spMk id="4" creationId="{611B5B65-475C-2E72-1509-2AA122FD38C0}"/>
          </ac:spMkLst>
        </pc:spChg>
        <pc:spChg chg="mod">
          <ac:chgData name="Brianna Lien" userId="f3b5815a-0702-414c-9464-ffb25822869a" providerId="ADAL" clId="{EE436324-6274-427C-A630-1CFEE9136FC3}" dt="2025-10-23T11:36:58.778" v="37" actId="20577"/>
          <ac:spMkLst>
            <pc:docMk/>
            <pc:sldMk cId="973466118" sldId="2147469933"/>
            <ac:spMk id="49" creationId="{8D79B55B-EF59-2C9D-7B6D-84E89FDE2AAB}"/>
          </ac:spMkLst>
        </pc:spChg>
      </pc:sldChg>
    </pc:docChg>
  </pc:docChgLst>
  <pc:docChgLst>
    <pc:chgData name="Brianna Lien" userId="f3b5815a-0702-414c-9464-ffb25822869a" providerId="ADAL" clId="{E766F019-8490-4E26-84E2-621B5357DDEE}"/>
    <pc:docChg chg="undo custSel addSld delSld modSld sldOrd delMainMaster">
      <pc:chgData name="Brianna Lien" userId="f3b5815a-0702-414c-9464-ffb25822869a" providerId="ADAL" clId="{E766F019-8490-4E26-84E2-621B5357DDEE}" dt="2024-05-28T14:37:02.257" v="5790"/>
      <pc:docMkLst>
        <pc:docMk/>
      </pc:docMkLst>
      <pc:sldChg chg="modSp mod">
        <pc:chgData name="Brianna Lien" userId="f3b5815a-0702-414c-9464-ffb25822869a" providerId="ADAL" clId="{E766F019-8490-4E26-84E2-621B5357DDEE}" dt="2024-05-07T09:26:04.324" v="5715" actId="20577"/>
        <pc:sldMkLst>
          <pc:docMk/>
          <pc:sldMk cId="3143414294" sldId="258"/>
        </pc:sldMkLst>
      </pc:sldChg>
      <pc:sldChg chg="addSp delSp modSp del mod modClrScheme chgLayout">
        <pc:chgData name="Brianna Lien" userId="f3b5815a-0702-414c-9464-ffb25822869a" providerId="ADAL" clId="{E766F019-8490-4E26-84E2-621B5357DDEE}" dt="2024-05-07T07:20:27.587" v="3554" actId="47"/>
        <pc:sldMkLst>
          <pc:docMk/>
          <pc:sldMk cId="983440853" sldId="259"/>
        </pc:sldMkLst>
      </pc:sldChg>
      <pc:sldChg chg="del">
        <pc:chgData name="Brianna Lien" userId="f3b5815a-0702-414c-9464-ffb25822869a" providerId="ADAL" clId="{E766F019-8490-4E26-84E2-621B5357DDEE}" dt="2024-05-06T16:15:44.326" v="3366" actId="47"/>
        <pc:sldMkLst>
          <pc:docMk/>
          <pc:sldMk cId="1533286221" sldId="276"/>
        </pc:sldMkLst>
      </pc:sldChg>
      <pc:sldChg chg="addSp delSp modSp add mod">
        <pc:chgData name="Brianna Lien" userId="f3b5815a-0702-414c-9464-ffb25822869a" providerId="ADAL" clId="{E766F019-8490-4E26-84E2-621B5357DDEE}" dt="2024-05-03T15:59:23.943" v="2435" actId="20577"/>
        <pc:sldMkLst>
          <pc:docMk/>
          <pc:sldMk cId="2652259109" sldId="277"/>
        </pc:sldMkLst>
      </pc:sldChg>
      <pc:sldChg chg="delSp modSp mod modNotesTx">
        <pc:chgData name="Brianna Lien" userId="f3b5815a-0702-414c-9464-ffb25822869a" providerId="ADAL" clId="{E766F019-8490-4E26-84E2-621B5357DDEE}" dt="2024-05-07T08:57:16.305" v="4943" actId="947"/>
        <pc:sldMkLst>
          <pc:docMk/>
          <pc:sldMk cId="96322911" sldId="301"/>
        </pc:sldMkLst>
      </pc:sldChg>
      <pc:sldChg chg="delSp modSp add del mod">
        <pc:chgData name="Brianna Lien" userId="f3b5815a-0702-414c-9464-ffb25822869a" providerId="ADAL" clId="{E766F019-8490-4E26-84E2-621B5357DDEE}" dt="2024-05-07T09:04:16.498" v="4944" actId="478"/>
        <pc:sldMkLst>
          <pc:docMk/>
          <pc:sldMk cId="2477321240" sldId="302"/>
        </pc:sldMkLst>
      </pc:sldChg>
      <pc:sldChg chg="addSp delSp modSp mod modClrScheme chgLayout modNotesTx">
        <pc:chgData name="Brianna Lien" userId="f3b5815a-0702-414c-9464-ffb25822869a" providerId="ADAL" clId="{E766F019-8490-4E26-84E2-621B5357DDEE}" dt="2024-05-07T08:41:17.695" v="4803" actId="1038"/>
        <pc:sldMkLst>
          <pc:docMk/>
          <pc:sldMk cId="1763847388" sldId="909"/>
        </pc:sldMkLst>
      </pc:sldChg>
      <pc:sldChg chg="addSp delSp modSp mod modClrScheme delCm chgLayout modNotesTx">
        <pc:chgData name="Brianna Lien" userId="f3b5815a-0702-414c-9464-ffb25822869a" providerId="ADAL" clId="{E766F019-8490-4E26-84E2-621B5357DDEE}" dt="2024-05-03T16:08:01.242" v="2580" actId="1038"/>
        <pc:sldMkLst>
          <pc:docMk/>
          <pc:sldMk cId="2551951913" sldId="911"/>
        </pc:sldMkLst>
        <pc:extLst>
          <p:ext xmlns:p="http://schemas.openxmlformats.org/presentationml/2006/main" uri="{D6D511B9-2390-475A-947B-AFAB55BFBCF1}">
            <pc226:cmChg xmlns:pc226="http://schemas.microsoft.com/office/powerpoint/2022/06/main/command" chg="del">
              <pc226:chgData name="Brianna Lien" userId="f3b5815a-0702-414c-9464-ffb25822869a" providerId="ADAL" clId="{E766F019-8490-4E26-84E2-621B5357DDEE}" dt="2024-05-02T14:31:00.450" v="1246"/>
              <pc2:cmMkLst xmlns:pc2="http://schemas.microsoft.com/office/powerpoint/2019/9/main/command">
                <pc:docMk/>
                <pc:sldMk cId="2551951913" sldId="911"/>
                <pc2:cmMk id="{933D4E3B-AABE-4F05-8486-557598503C82}"/>
              </pc2:cmMkLst>
            </pc226:cmChg>
          </p:ext>
        </pc:extLst>
      </pc:sldChg>
      <pc:sldChg chg="addSp delSp modSp mod modClrScheme chgLayout modNotesTx">
        <pc:chgData name="Brianna Lien" userId="f3b5815a-0702-414c-9464-ffb25822869a" providerId="ADAL" clId="{E766F019-8490-4E26-84E2-621B5357DDEE}" dt="2024-05-06T16:01:07.369" v="3323" actId="947"/>
        <pc:sldMkLst>
          <pc:docMk/>
          <pc:sldMk cId="4066212355" sldId="2147375221"/>
        </pc:sldMkLst>
      </pc:sldChg>
      <pc:sldChg chg="addSp delSp modSp add mod modClrScheme chgLayout">
        <pc:chgData name="Brianna Lien" userId="f3b5815a-0702-414c-9464-ffb25822869a" providerId="ADAL" clId="{E766F019-8490-4E26-84E2-621B5357DDEE}" dt="2024-05-07T09:37:41.384" v="5742" actId="1076"/>
        <pc:sldMkLst>
          <pc:docMk/>
          <pc:sldMk cId="363803934" sldId="2147469893"/>
        </pc:sldMkLst>
      </pc:sldChg>
      <pc:sldChg chg="delSp modSp del mod">
        <pc:chgData name="Brianna Lien" userId="f3b5815a-0702-414c-9464-ffb25822869a" providerId="ADAL" clId="{E766F019-8490-4E26-84E2-621B5357DDEE}" dt="2024-05-03T16:03:24.082" v="2516" actId="2696"/>
        <pc:sldMkLst>
          <pc:docMk/>
          <pc:sldMk cId="515246607" sldId="2147469917"/>
        </pc:sldMkLst>
      </pc:sldChg>
      <pc:sldChg chg="del">
        <pc:chgData name="Brianna Lien" userId="f3b5815a-0702-414c-9464-ffb25822869a" providerId="ADAL" clId="{E766F019-8490-4E26-84E2-621B5357DDEE}" dt="2024-05-03T15:36:53.794" v="1963" actId="47"/>
        <pc:sldMkLst>
          <pc:docMk/>
          <pc:sldMk cId="2348600632" sldId="2147469920"/>
        </pc:sldMkLst>
      </pc:sldChg>
      <pc:sldChg chg="modSp del mod">
        <pc:chgData name="Brianna Lien" userId="f3b5815a-0702-414c-9464-ffb25822869a" providerId="ADAL" clId="{E766F019-8490-4E26-84E2-621B5357DDEE}" dt="2024-05-07T08:35:31.684" v="4783" actId="47"/>
        <pc:sldMkLst>
          <pc:docMk/>
          <pc:sldMk cId="4169332890" sldId="2147469921"/>
        </pc:sldMkLst>
      </pc:sldChg>
      <pc:sldChg chg="addSp delSp modSp mod modClrScheme chgLayout modNotesTx">
        <pc:chgData name="Brianna Lien" userId="f3b5815a-0702-414c-9464-ffb25822869a" providerId="ADAL" clId="{E766F019-8490-4E26-84E2-621B5357DDEE}" dt="2024-05-07T09:08:14.215" v="5087" actId="14100"/>
        <pc:sldMkLst>
          <pc:docMk/>
          <pc:sldMk cId="550996224" sldId="2147469922"/>
        </pc:sldMkLst>
      </pc:sldChg>
      <pc:sldChg chg="modSp mod modNotesTx">
        <pc:chgData name="Brianna Lien" userId="f3b5815a-0702-414c-9464-ffb25822869a" providerId="ADAL" clId="{E766F019-8490-4E26-84E2-621B5357DDEE}" dt="2024-05-02T14:17:03.512" v="1204" actId="14100"/>
        <pc:sldMkLst>
          <pc:docMk/>
          <pc:sldMk cId="2927679592" sldId="2147469924"/>
        </pc:sldMkLst>
      </pc:sldChg>
      <pc:sldChg chg="delSp add mod">
        <pc:chgData name="Brianna Lien" userId="f3b5815a-0702-414c-9464-ffb25822869a" providerId="ADAL" clId="{E766F019-8490-4E26-84E2-621B5357DDEE}" dt="2024-05-02T14:40:24.601" v="1287" actId="478"/>
        <pc:sldMkLst>
          <pc:docMk/>
          <pc:sldMk cId="3840920783" sldId="2147469925"/>
        </pc:sldMkLst>
      </pc:sldChg>
      <pc:sldChg chg="new del">
        <pc:chgData name="Brianna Lien" userId="f3b5815a-0702-414c-9464-ffb25822869a" providerId="ADAL" clId="{E766F019-8490-4E26-84E2-621B5357DDEE}" dt="2024-05-02T14:45:20.808" v="1322" actId="47"/>
        <pc:sldMkLst>
          <pc:docMk/>
          <pc:sldMk cId="2883221895" sldId="2147469926"/>
        </pc:sldMkLst>
      </pc:sldChg>
      <pc:sldChg chg="modSp new del mod">
        <pc:chgData name="Brianna Lien" userId="f3b5815a-0702-414c-9464-ffb25822869a" providerId="ADAL" clId="{E766F019-8490-4E26-84E2-621B5357DDEE}" dt="2024-05-02T14:48:12.090" v="1326" actId="47"/>
        <pc:sldMkLst>
          <pc:docMk/>
          <pc:sldMk cId="3162955663" sldId="2147469926"/>
        </pc:sldMkLst>
      </pc:sldChg>
      <pc:sldChg chg="addSp delSp modSp add mod ord modClrScheme chgLayout">
        <pc:chgData name="Brianna Lien" userId="f3b5815a-0702-414c-9464-ffb25822869a" providerId="ADAL" clId="{E766F019-8490-4E26-84E2-621B5357DDEE}" dt="2024-05-07T08:23:50.209" v="4517" actId="207"/>
        <pc:sldMkLst>
          <pc:docMk/>
          <pc:sldMk cId="3200755068" sldId="2147469927"/>
        </pc:sldMkLst>
      </pc:sldChg>
      <pc:sldChg chg="addSp delSp modSp add mod modClrScheme chgLayout">
        <pc:chgData name="Brianna Lien" userId="f3b5815a-0702-414c-9464-ffb25822869a" providerId="ADAL" clId="{E766F019-8490-4E26-84E2-621B5357DDEE}" dt="2024-05-14T09:55:19.808" v="5789" actId="478"/>
        <pc:sldMkLst>
          <pc:docMk/>
          <pc:sldMk cId="2698767485" sldId="2147469928"/>
        </pc:sldMkLst>
      </pc:sldChg>
      <pc:sldChg chg="addSp delSp modSp add mod modClrScheme chgLayout modNotesTx">
        <pc:chgData name="Brianna Lien" userId="f3b5815a-0702-414c-9464-ffb25822869a" providerId="ADAL" clId="{E766F019-8490-4E26-84E2-621B5357DDEE}" dt="2024-05-06T15:49:56.914" v="3299" actId="20577"/>
        <pc:sldMkLst>
          <pc:docMk/>
          <pc:sldMk cId="3465896249" sldId="2147469929"/>
        </pc:sldMkLst>
      </pc:sldChg>
      <pc:sldChg chg="addSp delSp modSp add mod addCm modNotesTx">
        <pc:chgData name="Brianna Lien" userId="f3b5815a-0702-414c-9464-ffb25822869a" providerId="ADAL" clId="{E766F019-8490-4E26-84E2-621B5357DDEE}" dt="2024-05-28T14:37:02.257" v="5790"/>
        <pc:sldMkLst>
          <pc:docMk/>
          <pc:sldMk cId="36038396" sldId="2147469930"/>
        </pc:sldMkLst>
        <pc:extLst>
          <p:ext xmlns:p="http://schemas.openxmlformats.org/presentationml/2006/main" uri="{D6D511B9-2390-475A-947B-AFAB55BFBCF1}">
            <pc226:cmChg xmlns:pc226="http://schemas.microsoft.com/office/powerpoint/2022/06/main/command" chg="add">
              <pc226:chgData name="Brianna Lien" userId="f3b5815a-0702-414c-9464-ffb25822869a" providerId="ADAL" clId="{E766F019-8490-4E26-84E2-621B5357DDEE}" dt="2024-05-28T14:37:02.257" v="5790"/>
              <pc2:cmMkLst xmlns:pc2="http://schemas.microsoft.com/office/powerpoint/2019/9/main/command">
                <pc:docMk/>
                <pc:sldMk cId="36038396" sldId="2147469930"/>
                <pc2:cmMk id="{9C8ECE3E-1129-42BB-8793-6143F89A6576}"/>
              </pc2:cmMkLst>
            </pc226:cmChg>
          </p:ext>
        </pc:extLst>
      </pc:sldChg>
      <pc:sldChg chg="add">
        <pc:chgData name="Brianna Lien" userId="f3b5815a-0702-414c-9464-ffb25822869a" providerId="ADAL" clId="{E766F019-8490-4E26-84E2-621B5357DDEE}" dt="2024-05-06T16:15:40.300" v="3365"/>
        <pc:sldMkLst>
          <pc:docMk/>
          <pc:sldMk cId="2475446499" sldId="2147469931"/>
        </pc:sldMkLst>
      </pc:sldChg>
      <pc:sldChg chg="addSp delSp modSp add mod">
        <pc:chgData name="Brianna Lien" userId="f3b5815a-0702-414c-9464-ffb25822869a" providerId="ADAL" clId="{E766F019-8490-4E26-84E2-621B5357DDEE}" dt="2024-05-07T08:35:57.568" v="4787" actId="14100"/>
        <pc:sldMkLst>
          <pc:docMk/>
          <pc:sldMk cId="3491936847" sldId="2147469932"/>
        </pc:sldMkLst>
      </pc:sldChg>
      <pc:sldMasterChg chg="del delSldLayout">
        <pc:chgData name="Brianna Lien" userId="f3b5815a-0702-414c-9464-ffb25822869a" providerId="ADAL" clId="{E766F019-8490-4E26-84E2-621B5357DDEE}" dt="2024-05-03T16:07:41.120" v="2524" actId="700"/>
        <pc:sldMasterMkLst>
          <pc:docMk/>
          <pc:sldMasterMk cId="52872110" sldId="2147483679"/>
        </pc:sldMasterMkLst>
        <pc:sldLayoutChg chg="del">
          <pc:chgData name="Brianna Lien" userId="f3b5815a-0702-414c-9464-ffb25822869a" providerId="ADAL" clId="{E766F019-8490-4E26-84E2-621B5357DDEE}" dt="2024-05-03T16:07:41.120" v="2524" actId="700"/>
          <pc:sldLayoutMkLst>
            <pc:docMk/>
            <pc:sldMasterMk cId="52872110" sldId="2147483679"/>
            <pc:sldLayoutMk cId="3124567722" sldId="2147483680"/>
          </pc:sldLayoutMkLst>
        </pc:sldLayoutChg>
        <pc:sldLayoutChg chg="del">
          <pc:chgData name="Brianna Lien" userId="f3b5815a-0702-414c-9464-ffb25822869a" providerId="ADAL" clId="{E766F019-8490-4E26-84E2-621B5357DDEE}" dt="2024-05-03T16:07:41.120" v="2524" actId="700"/>
          <pc:sldLayoutMkLst>
            <pc:docMk/>
            <pc:sldMasterMk cId="52872110" sldId="2147483679"/>
            <pc:sldLayoutMk cId="1079902048" sldId="2147483681"/>
          </pc:sldLayoutMkLst>
        </pc:sldLayoutChg>
        <pc:sldLayoutChg chg="del">
          <pc:chgData name="Brianna Lien" userId="f3b5815a-0702-414c-9464-ffb25822869a" providerId="ADAL" clId="{E766F019-8490-4E26-84E2-621B5357DDEE}" dt="2024-05-03T16:07:41.120" v="2524" actId="700"/>
          <pc:sldLayoutMkLst>
            <pc:docMk/>
            <pc:sldMasterMk cId="52872110" sldId="2147483679"/>
            <pc:sldLayoutMk cId="2186179345" sldId="2147483682"/>
          </pc:sldLayoutMkLst>
        </pc:sldLayoutChg>
        <pc:sldLayoutChg chg="del">
          <pc:chgData name="Brianna Lien" userId="f3b5815a-0702-414c-9464-ffb25822869a" providerId="ADAL" clId="{E766F019-8490-4E26-84E2-621B5357DDEE}" dt="2024-05-03T16:07:41.120" v="2524" actId="700"/>
          <pc:sldLayoutMkLst>
            <pc:docMk/>
            <pc:sldMasterMk cId="52872110" sldId="2147483679"/>
            <pc:sldLayoutMk cId="3076593336" sldId="2147483683"/>
          </pc:sldLayoutMkLst>
        </pc:sldLayoutChg>
        <pc:sldLayoutChg chg="del">
          <pc:chgData name="Brianna Lien" userId="f3b5815a-0702-414c-9464-ffb25822869a" providerId="ADAL" clId="{E766F019-8490-4E26-84E2-621B5357DDEE}" dt="2024-05-03T16:07:41.120" v="2524" actId="700"/>
          <pc:sldLayoutMkLst>
            <pc:docMk/>
            <pc:sldMasterMk cId="52872110" sldId="2147483679"/>
            <pc:sldLayoutMk cId="2015121411" sldId="2147483684"/>
          </pc:sldLayoutMkLst>
        </pc:sldLayoutChg>
        <pc:sldLayoutChg chg="del">
          <pc:chgData name="Brianna Lien" userId="f3b5815a-0702-414c-9464-ffb25822869a" providerId="ADAL" clId="{E766F019-8490-4E26-84E2-621B5357DDEE}" dt="2024-05-03T16:07:41.120" v="2524" actId="700"/>
          <pc:sldLayoutMkLst>
            <pc:docMk/>
            <pc:sldMasterMk cId="52872110" sldId="2147483679"/>
            <pc:sldLayoutMk cId="232728203" sldId="2147483685"/>
          </pc:sldLayoutMkLst>
        </pc:sldLayoutChg>
        <pc:sldLayoutChg chg="del">
          <pc:chgData name="Brianna Lien" userId="f3b5815a-0702-414c-9464-ffb25822869a" providerId="ADAL" clId="{E766F019-8490-4E26-84E2-621B5357DDEE}" dt="2024-05-03T16:07:41.120" v="2524" actId="700"/>
          <pc:sldLayoutMkLst>
            <pc:docMk/>
            <pc:sldMasterMk cId="52872110" sldId="2147483679"/>
            <pc:sldLayoutMk cId="1674500358" sldId="2147483686"/>
          </pc:sldLayoutMkLst>
        </pc:sldLayoutChg>
        <pc:sldLayoutChg chg="del">
          <pc:chgData name="Brianna Lien" userId="f3b5815a-0702-414c-9464-ffb25822869a" providerId="ADAL" clId="{E766F019-8490-4E26-84E2-621B5357DDEE}" dt="2024-05-03T16:07:41.120" v="2524" actId="700"/>
          <pc:sldLayoutMkLst>
            <pc:docMk/>
            <pc:sldMasterMk cId="52872110" sldId="2147483679"/>
            <pc:sldLayoutMk cId="715453521" sldId="2147483687"/>
          </pc:sldLayoutMkLst>
        </pc:sldLayoutChg>
        <pc:sldLayoutChg chg="del">
          <pc:chgData name="Brianna Lien" userId="f3b5815a-0702-414c-9464-ffb25822869a" providerId="ADAL" clId="{E766F019-8490-4E26-84E2-621B5357DDEE}" dt="2024-05-03T16:07:41.120" v="2524" actId="700"/>
          <pc:sldLayoutMkLst>
            <pc:docMk/>
            <pc:sldMasterMk cId="52872110" sldId="2147483679"/>
            <pc:sldLayoutMk cId="1863821249" sldId="2147483688"/>
          </pc:sldLayoutMkLst>
        </pc:sldLayoutChg>
        <pc:sldLayoutChg chg="del">
          <pc:chgData name="Brianna Lien" userId="f3b5815a-0702-414c-9464-ffb25822869a" providerId="ADAL" clId="{E766F019-8490-4E26-84E2-621B5357DDEE}" dt="2024-05-03T16:07:41.120" v="2524" actId="700"/>
          <pc:sldLayoutMkLst>
            <pc:docMk/>
            <pc:sldMasterMk cId="52872110" sldId="2147483679"/>
            <pc:sldLayoutMk cId="373213382" sldId="2147483689"/>
          </pc:sldLayoutMkLst>
        </pc:sldLayoutChg>
        <pc:sldLayoutChg chg="del">
          <pc:chgData name="Brianna Lien" userId="f3b5815a-0702-414c-9464-ffb25822869a" providerId="ADAL" clId="{E766F019-8490-4E26-84E2-621B5357DDEE}" dt="2024-05-03T16:07:41.120" v="2524" actId="700"/>
          <pc:sldLayoutMkLst>
            <pc:docMk/>
            <pc:sldMasterMk cId="52872110" sldId="2147483679"/>
            <pc:sldLayoutMk cId="2468780864" sldId="2147483690"/>
          </pc:sldLayoutMkLst>
        </pc:sldLayoutChg>
        <pc:sldLayoutChg chg="del">
          <pc:chgData name="Brianna Lien" userId="f3b5815a-0702-414c-9464-ffb25822869a" providerId="ADAL" clId="{E766F019-8490-4E26-84E2-621B5357DDEE}" dt="2024-05-03T16:07:41.120" v="2524" actId="700"/>
          <pc:sldLayoutMkLst>
            <pc:docMk/>
            <pc:sldMasterMk cId="52872110" sldId="2147483679"/>
            <pc:sldLayoutMk cId="791887460" sldId="2147483691"/>
          </pc:sldLayoutMkLst>
        </pc:sldLayoutChg>
        <pc:sldLayoutChg chg="del">
          <pc:chgData name="Brianna Lien" userId="f3b5815a-0702-414c-9464-ffb25822869a" providerId="ADAL" clId="{E766F019-8490-4E26-84E2-621B5357DDEE}" dt="2024-05-03T16:07:41.120" v="2524" actId="700"/>
          <pc:sldLayoutMkLst>
            <pc:docMk/>
            <pc:sldMasterMk cId="52872110" sldId="2147483679"/>
            <pc:sldLayoutMk cId="3124352495" sldId="2147483692"/>
          </pc:sldLayoutMkLst>
        </pc:sldLayoutChg>
        <pc:sldLayoutChg chg="del">
          <pc:chgData name="Brianna Lien" userId="f3b5815a-0702-414c-9464-ffb25822869a" providerId="ADAL" clId="{E766F019-8490-4E26-84E2-621B5357DDEE}" dt="2024-05-03T16:07:41.120" v="2524" actId="700"/>
          <pc:sldLayoutMkLst>
            <pc:docMk/>
            <pc:sldMasterMk cId="52872110" sldId="2147483679"/>
            <pc:sldLayoutMk cId="575697741" sldId="2147483693"/>
          </pc:sldLayoutMkLst>
        </pc:sldLayoutChg>
        <pc:sldLayoutChg chg="del">
          <pc:chgData name="Brianna Lien" userId="f3b5815a-0702-414c-9464-ffb25822869a" providerId="ADAL" clId="{E766F019-8490-4E26-84E2-621B5357DDEE}" dt="2024-05-03T16:07:41.120" v="2524" actId="700"/>
          <pc:sldLayoutMkLst>
            <pc:docMk/>
            <pc:sldMasterMk cId="52872110" sldId="2147483679"/>
            <pc:sldLayoutMk cId="1067395808" sldId="2147483694"/>
          </pc:sldLayoutMkLst>
        </pc:sldLayoutChg>
        <pc:sldLayoutChg chg="del">
          <pc:chgData name="Brianna Lien" userId="f3b5815a-0702-414c-9464-ffb25822869a" providerId="ADAL" clId="{E766F019-8490-4E26-84E2-621B5357DDEE}" dt="2024-05-03T16:07:41.120" v="2524" actId="700"/>
          <pc:sldLayoutMkLst>
            <pc:docMk/>
            <pc:sldMasterMk cId="52872110" sldId="2147483679"/>
            <pc:sldLayoutMk cId="1351093734" sldId="2147483695"/>
          </pc:sldLayoutMkLst>
        </pc:sldLayoutChg>
        <pc:sldLayoutChg chg="del">
          <pc:chgData name="Brianna Lien" userId="f3b5815a-0702-414c-9464-ffb25822869a" providerId="ADAL" clId="{E766F019-8490-4E26-84E2-621B5357DDEE}" dt="2024-05-03T16:07:41.120" v="2524" actId="700"/>
          <pc:sldLayoutMkLst>
            <pc:docMk/>
            <pc:sldMasterMk cId="52872110" sldId="2147483679"/>
            <pc:sldLayoutMk cId="2377296047" sldId="2147483697"/>
          </pc:sldLayoutMkLst>
        </pc:sldLayoutChg>
        <pc:sldLayoutChg chg="del">
          <pc:chgData name="Brianna Lien" userId="f3b5815a-0702-414c-9464-ffb25822869a" providerId="ADAL" clId="{E766F019-8490-4E26-84E2-621B5357DDEE}" dt="2024-05-03T16:07:41.120" v="2524" actId="700"/>
          <pc:sldLayoutMkLst>
            <pc:docMk/>
            <pc:sldMasterMk cId="52872110" sldId="2147483679"/>
            <pc:sldLayoutMk cId="2411532860" sldId="2147483704"/>
          </pc:sldLayoutMkLst>
        </pc:sldLayoutChg>
        <pc:sldLayoutChg chg="del">
          <pc:chgData name="Brianna Lien" userId="f3b5815a-0702-414c-9464-ffb25822869a" providerId="ADAL" clId="{E766F019-8490-4E26-84E2-621B5357DDEE}" dt="2024-05-03T16:07:41.120" v="2524" actId="700"/>
          <pc:sldLayoutMkLst>
            <pc:docMk/>
            <pc:sldMasterMk cId="52872110" sldId="2147483679"/>
            <pc:sldLayoutMk cId="3575310769" sldId="2147483705"/>
          </pc:sldLayoutMkLst>
        </pc:sldLayoutChg>
        <pc:sldLayoutChg chg="del">
          <pc:chgData name="Brianna Lien" userId="f3b5815a-0702-414c-9464-ffb25822869a" providerId="ADAL" clId="{E766F019-8490-4E26-84E2-621B5357DDEE}" dt="2024-05-03T16:07:41.120" v="2524" actId="700"/>
          <pc:sldLayoutMkLst>
            <pc:docMk/>
            <pc:sldMasterMk cId="52872110" sldId="2147483679"/>
            <pc:sldLayoutMk cId="1733623855" sldId="2147483706"/>
          </pc:sldLayoutMkLst>
        </pc:sldLayoutChg>
      </pc:sldMasterChg>
      <pc:sldMasterChg chg="del delSldLayout">
        <pc:chgData name="Brianna Lien" userId="f3b5815a-0702-414c-9464-ffb25822869a" providerId="ADAL" clId="{E766F019-8490-4E26-84E2-621B5357DDEE}" dt="2024-05-03T16:06:24.381" v="2517" actId="700"/>
        <pc:sldMasterMkLst>
          <pc:docMk/>
          <pc:sldMasterMk cId="2558327562" sldId="2147483707"/>
        </pc:sldMasterMkLst>
        <pc:sldLayoutChg chg="del">
          <pc:chgData name="Brianna Lien" userId="f3b5815a-0702-414c-9464-ffb25822869a" providerId="ADAL" clId="{E766F019-8490-4E26-84E2-621B5357DDEE}" dt="2024-05-03T16:06:24.381" v="2517" actId="700"/>
          <pc:sldLayoutMkLst>
            <pc:docMk/>
            <pc:sldMasterMk cId="2558327562" sldId="2147483707"/>
            <pc:sldLayoutMk cId="611089914" sldId="2147483708"/>
          </pc:sldLayoutMkLst>
        </pc:sldLayoutChg>
        <pc:sldLayoutChg chg="del">
          <pc:chgData name="Brianna Lien" userId="f3b5815a-0702-414c-9464-ffb25822869a" providerId="ADAL" clId="{E766F019-8490-4E26-84E2-621B5357DDEE}" dt="2024-05-03T16:06:24.381" v="2517" actId="700"/>
          <pc:sldLayoutMkLst>
            <pc:docMk/>
            <pc:sldMasterMk cId="2558327562" sldId="2147483707"/>
            <pc:sldLayoutMk cId="3034447273" sldId="2147483709"/>
          </pc:sldLayoutMkLst>
        </pc:sldLayoutChg>
        <pc:sldLayoutChg chg="del">
          <pc:chgData name="Brianna Lien" userId="f3b5815a-0702-414c-9464-ffb25822869a" providerId="ADAL" clId="{E766F019-8490-4E26-84E2-621B5357DDEE}" dt="2024-05-03T16:06:24.381" v="2517" actId="700"/>
          <pc:sldLayoutMkLst>
            <pc:docMk/>
            <pc:sldMasterMk cId="2558327562" sldId="2147483707"/>
            <pc:sldLayoutMk cId="3609281010" sldId="2147483710"/>
          </pc:sldLayoutMkLst>
        </pc:sldLayoutChg>
        <pc:sldLayoutChg chg="del">
          <pc:chgData name="Brianna Lien" userId="f3b5815a-0702-414c-9464-ffb25822869a" providerId="ADAL" clId="{E766F019-8490-4E26-84E2-621B5357DDEE}" dt="2024-05-03T16:06:24.381" v="2517" actId="700"/>
          <pc:sldLayoutMkLst>
            <pc:docMk/>
            <pc:sldMasterMk cId="2558327562" sldId="2147483707"/>
            <pc:sldLayoutMk cId="2662222582" sldId="2147483711"/>
          </pc:sldLayoutMkLst>
        </pc:sldLayoutChg>
        <pc:sldLayoutChg chg="del">
          <pc:chgData name="Brianna Lien" userId="f3b5815a-0702-414c-9464-ffb25822869a" providerId="ADAL" clId="{E766F019-8490-4E26-84E2-621B5357DDEE}" dt="2024-05-03T16:06:24.381" v="2517" actId="700"/>
          <pc:sldLayoutMkLst>
            <pc:docMk/>
            <pc:sldMasterMk cId="2558327562" sldId="2147483707"/>
            <pc:sldLayoutMk cId="22732430" sldId="2147483712"/>
          </pc:sldLayoutMkLst>
        </pc:sldLayoutChg>
        <pc:sldLayoutChg chg="del">
          <pc:chgData name="Brianna Lien" userId="f3b5815a-0702-414c-9464-ffb25822869a" providerId="ADAL" clId="{E766F019-8490-4E26-84E2-621B5357DDEE}" dt="2024-05-03T16:06:24.381" v="2517" actId="700"/>
          <pc:sldLayoutMkLst>
            <pc:docMk/>
            <pc:sldMasterMk cId="2558327562" sldId="2147483707"/>
            <pc:sldLayoutMk cId="594629679" sldId="2147483713"/>
          </pc:sldLayoutMkLst>
        </pc:sldLayoutChg>
        <pc:sldLayoutChg chg="del">
          <pc:chgData name="Brianna Lien" userId="f3b5815a-0702-414c-9464-ffb25822869a" providerId="ADAL" clId="{E766F019-8490-4E26-84E2-621B5357DDEE}" dt="2024-05-03T16:06:24.381" v="2517" actId="700"/>
          <pc:sldLayoutMkLst>
            <pc:docMk/>
            <pc:sldMasterMk cId="2558327562" sldId="2147483707"/>
            <pc:sldLayoutMk cId="1422971319" sldId="2147483714"/>
          </pc:sldLayoutMkLst>
        </pc:sldLayoutChg>
        <pc:sldLayoutChg chg="del">
          <pc:chgData name="Brianna Lien" userId="f3b5815a-0702-414c-9464-ffb25822869a" providerId="ADAL" clId="{E766F019-8490-4E26-84E2-621B5357DDEE}" dt="2024-05-03T16:06:24.381" v="2517" actId="700"/>
          <pc:sldLayoutMkLst>
            <pc:docMk/>
            <pc:sldMasterMk cId="2558327562" sldId="2147483707"/>
            <pc:sldLayoutMk cId="3327245959" sldId="2147483715"/>
          </pc:sldLayoutMkLst>
        </pc:sldLayoutChg>
        <pc:sldLayoutChg chg="del">
          <pc:chgData name="Brianna Lien" userId="f3b5815a-0702-414c-9464-ffb25822869a" providerId="ADAL" clId="{E766F019-8490-4E26-84E2-621B5357DDEE}" dt="2024-05-03T16:06:24.381" v="2517" actId="700"/>
          <pc:sldLayoutMkLst>
            <pc:docMk/>
            <pc:sldMasterMk cId="2558327562" sldId="2147483707"/>
            <pc:sldLayoutMk cId="1696561265" sldId="2147483716"/>
          </pc:sldLayoutMkLst>
        </pc:sldLayoutChg>
        <pc:sldLayoutChg chg="del">
          <pc:chgData name="Brianna Lien" userId="f3b5815a-0702-414c-9464-ffb25822869a" providerId="ADAL" clId="{E766F019-8490-4E26-84E2-621B5357DDEE}" dt="2024-05-03T16:06:24.381" v="2517" actId="700"/>
          <pc:sldLayoutMkLst>
            <pc:docMk/>
            <pc:sldMasterMk cId="2558327562" sldId="2147483707"/>
            <pc:sldLayoutMk cId="780382094" sldId="2147483717"/>
          </pc:sldLayoutMkLst>
        </pc:sldLayoutChg>
        <pc:sldLayoutChg chg="del">
          <pc:chgData name="Brianna Lien" userId="f3b5815a-0702-414c-9464-ffb25822869a" providerId="ADAL" clId="{E766F019-8490-4E26-84E2-621B5357DDEE}" dt="2024-05-03T16:06:24.381" v="2517" actId="700"/>
          <pc:sldLayoutMkLst>
            <pc:docMk/>
            <pc:sldMasterMk cId="2558327562" sldId="2147483707"/>
            <pc:sldLayoutMk cId="1161137700" sldId="2147483718"/>
          </pc:sldLayoutMkLst>
        </pc:sldLayoutChg>
      </pc:sldMasterChg>
    </pc:docChg>
  </pc:docChgLst>
  <pc:docChgLst>
    <pc:chgData name="Brianna Lien" userId="f3b5815a-0702-414c-9464-ffb25822869a" providerId="ADAL" clId="{ECDAFB57-FA01-4433-90EE-F6EDE71CD488}"/>
    <pc:docChg chg="custSel delSld modSld delMainMaster">
      <pc:chgData name="Brianna Lien" userId="f3b5815a-0702-414c-9464-ffb25822869a" providerId="ADAL" clId="{ECDAFB57-FA01-4433-90EE-F6EDE71CD488}" dt="2024-06-05T14:14:38.247" v="133" actId="14100"/>
      <pc:docMkLst>
        <pc:docMk/>
      </pc:docMkLst>
      <pc:sldChg chg="addSp delSp modSp mod">
        <pc:chgData name="Brianna Lien" userId="f3b5815a-0702-414c-9464-ffb25822869a" providerId="ADAL" clId="{ECDAFB57-FA01-4433-90EE-F6EDE71CD488}" dt="2024-06-05T14:14:38.247" v="133" actId="14100"/>
        <pc:sldMkLst>
          <pc:docMk/>
          <pc:sldMk cId="2652259109" sldId="277"/>
        </pc:sldMkLst>
      </pc:sldChg>
      <pc:sldChg chg="del">
        <pc:chgData name="Brianna Lien" userId="f3b5815a-0702-414c-9464-ffb25822869a" providerId="ADAL" clId="{ECDAFB57-FA01-4433-90EE-F6EDE71CD488}" dt="2024-06-05T13:58:26.825" v="11" actId="47"/>
        <pc:sldMkLst>
          <pc:docMk/>
          <pc:sldMk cId="96322911" sldId="301"/>
        </pc:sldMkLst>
      </pc:sldChg>
      <pc:sldChg chg="del">
        <pc:chgData name="Brianna Lien" userId="f3b5815a-0702-414c-9464-ffb25822869a" providerId="ADAL" clId="{ECDAFB57-FA01-4433-90EE-F6EDE71CD488}" dt="2024-06-05T13:57:41.946" v="0" actId="47"/>
        <pc:sldMkLst>
          <pc:docMk/>
          <pc:sldMk cId="2477321240" sldId="302"/>
        </pc:sldMkLst>
      </pc:sldChg>
      <pc:sldChg chg="del">
        <pc:chgData name="Brianna Lien" userId="f3b5815a-0702-414c-9464-ffb25822869a" providerId="ADAL" clId="{ECDAFB57-FA01-4433-90EE-F6EDE71CD488}" dt="2024-06-05T13:58:23.526" v="9" actId="47"/>
        <pc:sldMkLst>
          <pc:docMk/>
          <pc:sldMk cId="1763847388" sldId="909"/>
        </pc:sldMkLst>
      </pc:sldChg>
      <pc:sldChg chg="del">
        <pc:chgData name="Brianna Lien" userId="f3b5815a-0702-414c-9464-ffb25822869a" providerId="ADAL" clId="{ECDAFB57-FA01-4433-90EE-F6EDE71CD488}" dt="2024-06-05T13:58:11.400" v="2" actId="47"/>
        <pc:sldMkLst>
          <pc:docMk/>
          <pc:sldMk cId="2551951913" sldId="911"/>
        </pc:sldMkLst>
      </pc:sldChg>
      <pc:sldChg chg="del">
        <pc:chgData name="Brianna Lien" userId="f3b5815a-0702-414c-9464-ffb25822869a" providerId="ADAL" clId="{ECDAFB57-FA01-4433-90EE-F6EDE71CD488}" dt="2024-06-05T13:58:12.811" v="4" actId="47"/>
        <pc:sldMkLst>
          <pc:docMk/>
          <pc:sldMk cId="4066212355" sldId="2147375221"/>
        </pc:sldMkLst>
      </pc:sldChg>
      <pc:sldChg chg="del">
        <pc:chgData name="Brianna Lien" userId="f3b5815a-0702-414c-9464-ffb25822869a" providerId="ADAL" clId="{ECDAFB57-FA01-4433-90EE-F6EDE71CD488}" dt="2024-06-05T13:58:13.991" v="6" actId="47"/>
        <pc:sldMkLst>
          <pc:docMk/>
          <pc:sldMk cId="363803934" sldId="2147469893"/>
        </pc:sldMkLst>
      </pc:sldChg>
      <pc:sldChg chg="del">
        <pc:chgData name="Brianna Lien" userId="f3b5815a-0702-414c-9464-ffb25822869a" providerId="ADAL" clId="{ECDAFB57-FA01-4433-90EE-F6EDE71CD488}" dt="2024-06-05T13:58:19.968" v="8" actId="47"/>
        <pc:sldMkLst>
          <pc:docMk/>
          <pc:sldMk cId="550996224" sldId="2147469922"/>
        </pc:sldMkLst>
      </pc:sldChg>
      <pc:sldChg chg="del">
        <pc:chgData name="Brianna Lien" userId="f3b5815a-0702-414c-9464-ffb25822869a" providerId="ADAL" clId="{ECDAFB57-FA01-4433-90EE-F6EDE71CD488}" dt="2024-06-05T13:58:10.581" v="1" actId="47"/>
        <pc:sldMkLst>
          <pc:docMk/>
          <pc:sldMk cId="2927679592" sldId="2147469924"/>
        </pc:sldMkLst>
      </pc:sldChg>
      <pc:sldChg chg="del">
        <pc:chgData name="Brianna Lien" userId="f3b5815a-0702-414c-9464-ffb25822869a" providerId="ADAL" clId="{ECDAFB57-FA01-4433-90EE-F6EDE71CD488}" dt="2024-06-05T14:10:03.516" v="126" actId="47"/>
        <pc:sldMkLst>
          <pc:docMk/>
          <pc:sldMk cId="3840920783" sldId="2147469925"/>
        </pc:sldMkLst>
      </pc:sldChg>
      <pc:sldChg chg="del">
        <pc:chgData name="Brianna Lien" userId="f3b5815a-0702-414c-9464-ffb25822869a" providerId="ADAL" clId="{ECDAFB57-FA01-4433-90EE-F6EDE71CD488}" dt="2024-06-05T13:58:13.417" v="5" actId="47"/>
        <pc:sldMkLst>
          <pc:docMk/>
          <pc:sldMk cId="3200755068" sldId="2147469927"/>
        </pc:sldMkLst>
      </pc:sldChg>
      <pc:sldChg chg="del">
        <pc:chgData name="Brianna Lien" userId="f3b5815a-0702-414c-9464-ffb25822869a" providerId="ADAL" clId="{ECDAFB57-FA01-4433-90EE-F6EDE71CD488}" dt="2024-06-05T13:58:12.088" v="3" actId="47"/>
        <pc:sldMkLst>
          <pc:docMk/>
          <pc:sldMk cId="2698767485" sldId="2147469928"/>
        </pc:sldMkLst>
      </pc:sldChg>
      <pc:sldChg chg="modSp mod">
        <pc:chgData name="Brianna Lien" userId="f3b5815a-0702-414c-9464-ffb25822869a" providerId="ADAL" clId="{ECDAFB57-FA01-4433-90EE-F6EDE71CD488}" dt="2024-06-05T14:06:10.977" v="73" actId="20577"/>
        <pc:sldMkLst>
          <pc:docMk/>
          <pc:sldMk cId="36038396" sldId="2147469930"/>
        </pc:sldMkLst>
      </pc:sldChg>
      <pc:sldChg chg="del">
        <pc:chgData name="Brianna Lien" userId="f3b5815a-0702-414c-9464-ffb25822869a" providerId="ADAL" clId="{ECDAFB57-FA01-4433-90EE-F6EDE71CD488}" dt="2024-06-05T13:58:25.380" v="10" actId="47"/>
        <pc:sldMkLst>
          <pc:docMk/>
          <pc:sldMk cId="2475446499" sldId="2147469931"/>
        </pc:sldMkLst>
      </pc:sldChg>
      <pc:sldChg chg="del">
        <pc:chgData name="Brianna Lien" userId="f3b5815a-0702-414c-9464-ffb25822869a" providerId="ADAL" clId="{ECDAFB57-FA01-4433-90EE-F6EDE71CD488}" dt="2024-06-05T13:58:14.630" v="7" actId="47"/>
        <pc:sldMkLst>
          <pc:docMk/>
          <pc:sldMk cId="3491936847" sldId="2147469932"/>
        </pc:sldMkLst>
      </pc:sldChg>
      <pc:sldChg chg="modSp del mod">
        <pc:chgData name="Brianna Lien" userId="f3b5815a-0702-414c-9464-ffb25822869a" providerId="ADAL" clId="{ECDAFB57-FA01-4433-90EE-F6EDE71CD488}" dt="2024-06-05T14:05:41.036" v="69" actId="47"/>
        <pc:sldMkLst>
          <pc:docMk/>
          <pc:sldMk cId="1704104141" sldId="2147469933"/>
        </pc:sldMkLst>
      </pc:sldChg>
      <pc:sldMasterChg chg="del delSldLayout">
        <pc:chgData name="Brianna Lien" userId="f3b5815a-0702-414c-9464-ffb25822869a" providerId="ADAL" clId="{ECDAFB57-FA01-4433-90EE-F6EDE71CD488}" dt="2024-06-05T13:58:10.581" v="1" actId="47"/>
        <pc:sldMasterMkLst>
          <pc:docMk/>
          <pc:sldMasterMk cId="3277864969" sldId="2147483660"/>
        </pc:sldMasterMkLst>
        <pc:sldLayoutChg chg="del">
          <pc:chgData name="Brianna Lien" userId="f3b5815a-0702-414c-9464-ffb25822869a" providerId="ADAL" clId="{ECDAFB57-FA01-4433-90EE-F6EDE71CD488}" dt="2024-06-05T13:58:10.581" v="1" actId="47"/>
          <pc:sldLayoutMkLst>
            <pc:docMk/>
            <pc:sldMasterMk cId="3277864969" sldId="2147483660"/>
            <pc:sldLayoutMk cId="1941736032" sldId="2147483661"/>
          </pc:sldLayoutMkLst>
        </pc:sldLayoutChg>
        <pc:sldLayoutChg chg="del">
          <pc:chgData name="Brianna Lien" userId="f3b5815a-0702-414c-9464-ffb25822869a" providerId="ADAL" clId="{ECDAFB57-FA01-4433-90EE-F6EDE71CD488}" dt="2024-06-05T13:58:10.581" v="1" actId="47"/>
          <pc:sldLayoutMkLst>
            <pc:docMk/>
            <pc:sldMasterMk cId="3277864969" sldId="2147483660"/>
            <pc:sldLayoutMk cId="2584056026" sldId="2147483662"/>
          </pc:sldLayoutMkLst>
        </pc:sldLayoutChg>
        <pc:sldLayoutChg chg="del">
          <pc:chgData name="Brianna Lien" userId="f3b5815a-0702-414c-9464-ffb25822869a" providerId="ADAL" clId="{ECDAFB57-FA01-4433-90EE-F6EDE71CD488}" dt="2024-06-05T13:58:10.581" v="1" actId="47"/>
          <pc:sldLayoutMkLst>
            <pc:docMk/>
            <pc:sldMasterMk cId="3277864969" sldId="2147483660"/>
            <pc:sldLayoutMk cId="2940023540" sldId="2147483663"/>
          </pc:sldLayoutMkLst>
        </pc:sldLayoutChg>
        <pc:sldLayoutChg chg="del">
          <pc:chgData name="Brianna Lien" userId="f3b5815a-0702-414c-9464-ffb25822869a" providerId="ADAL" clId="{ECDAFB57-FA01-4433-90EE-F6EDE71CD488}" dt="2024-06-05T13:58:10.581" v="1" actId="47"/>
          <pc:sldLayoutMkLst>
            <pc:docMk/>
            <pc:sldMasterMk cId="3277864969" sldId="2147483660"/>
            <pc:sldLayoutMk cId="3397683394" sldId="2147483664"/>
          </pc:sldLayoutMkLst>
        </pc:sldLayoutChg>
        <pc:sldLayoutChg chg="del">
          <pc:chgData name="Brianna Lien" userId="f3b5815a-0702-414c-9464-ffb25822869a" providerId="ADAL" clId="{ECDAFB57-FA01-4433-90EE-F6EDE71CD488}" dt="2024-06-05T13:58:10.581" v="1" actId="47"/>
          <pc:sldLayoutMkLst>
            <pc:docMk/>
            <pc:sldMasterMk cId="3277864969" sldId="2147483660"/>
            <pc:sldLayoutMk cId="3184957571" sldId="2147483665"/>
          </pc:sldLayoutMkLst>
        </pc:sldLayoutChg>
        <pc:sldLayoutChg chg="del">
          <pc:chgData name="Brianna Lien" userId="f3b5815a-0702-414c-9464-ffb25822869a" providerId="ADAL" clId="{ECDAFB57-FA01-4433-90EE-F6EDE71CD488}" dt="2024-06-05T13:58:10.581" v="1" actId="47"/>
          <pc:sldLayoutMkLst>
            <pc:docMk/>
            <pc:sldMasterMk cId="3277864969" sldId="2147483660"/>
            <pc:sldLayoutMk cId="2003376479" sldId="2147483666"/>
          </pc:sldLayoutMkLst>
        </pc:sldLayoutChg>
        <pc:sldLayoutChg chg="del">
          <pc:chgData name="Brianna Lien" userId="f3b5815a-0702-414c-9464-ffb25822869a" providerId="ADAL" clId="{ECDAFB57-FA01-4433-90EE-F6EDE71CD488}" dt="2024-06-05T13:58:10.581" v="1" actId="47"/>
          <pc:sldLayoutMkLst>
            <pc:docMk/>
            <pc:sldMasterMk cId="3277864969" sldId="2147483660"/>
            <pc:sldLayoutMk cId="1276433921" sldId="2147483667"/>
          </pc:sldLayoutMkLst>
        </pc:sldLayoutChg>
        <pc:sldLayoutChg chg="del">
          <pc:chgData name="Brianna Lien" userId="f3b5815a-0702-414c-9464-ffb25822869a" providerId="ADAL" clId="{ECDAFB57-FA01-4433-90EE-F6EDE71CD488}" dt="2024-06-05T13:58:10.581" v="1" actId="47"/>
          <pc:sldLayoutMkLst>
            <pc:docMk/>
            <pc:sldMasterMk cId="3277864969" sldId="2147483660"/>
            <pc:sldLayoutMk cId="1328037591" sldId="2147483668"/>
          </pc:sldLayoutMkLst>
        </pc:sldLayoutChg>
        <pc:sldLayoutChg chg="del">
          <pc:chgData name="Brianna Lien" userId="f3b5815a-0702-414c-9464-ffb25822869a" providerId="ADAL" clId="{ECDAFB57-FA01-4433-90EE-F6EDE71CD488}" dt="2024-06-05T13:58:10.581" v="1" actId="47"/>
          <pc:sldLayoutMkLst>
            <pc:docMk/>
            <pc:sldMasterMk cId="3277864969" sldId="2147483660"/>
            <pc:sldLayoutMk cId="2490169565" sldId="2147483669"/>
          </pc:sldLayoutMkLst>
        </pc:sldLayoutChg>
        <pc:sldLayoutChg chg="del">
          <pc:chgData name="Brianna Lien" userId="f3b5815a-0702-414c-9464-ffb25822869a" providerId="ADAL" clId="{ECDAFB57-FA01-4433-90EE-F6EDE71CD488}" dt="2024-06-05T13:58:10.581" v="1" actId="47"/>
          <pc:sldLayoutMkLst>
            <pc:docMk/>
            <pc:sldMasterMk cId="3277864969" sldId="2147483660"/>
            <pc:sldLayoutMk cId="3744275830" sldId="2147483670"/>
          </pc:sldLayoutMkLst>
        </pc:sldLayoutChg>
        <pc:sldLayoutChg chg="del">
          <pc:chgData name="Brianna Lien" userId="f3b5815a-0702-414c-9464-ffb25822869a" providerId="ADAL" clId="{ECDAFB57-FA01-4433-90EE-F6EDE71CD488}" dt="2024-06-05T13:58:10.581" v="1" actId="47"/>
          <pc:sldLayoutMkLst>
            <pc:docMk/>
            <pc:sldMasterMk cId="3277864969" sldId="2147483660"/>
            <pc:sldLayoutMk cId="3741184460" sldId="2147483671"/>
          </pc:sldLayoutMkLst>
        </pc:sldLayoutChg>
        <pc:sldLayoutChg chg="del">
          <pc:chgData name="Brianna Lien" userId="f3b5815a-0702-414c-9464-ffb25822869a" providerId="ADAL" clId="{ECDAFB57-FA01-4433-90EE-F6EDE71CD488}" dt="2024-06-05T13:58:10.581" v="1" actId="47"/>
          <pc:sldLayoutMkLst>
            <pc:docMk/>
            <pc:sldMasterMk cId="3277864969" sldId="2147483660"/>
            <pc:sldLayoutMk cId="1898656371" sldId="2147483672"/>
          </pc:sldLayoutMkLst>
        </pc:sldLayoutChg>
        <pc:sldLayoutChg chg="del">
          <pc:chgData name="Brianna Lien" userId="f3b5815a-0702-414c-9464-ffb25822869a" providerId="ADAL" clId="{ECDAFB57-FA01-4433-90EE-F6EDE71CD488}" dt="2024-06-05T13:58:10.581" v="1" actId="47"/>
          <pc:sldLayoutMkLst>
            <pc:docMk/>
            <pc:sldMasterMk cId="3277864969" sldId="2147483660"/>
            <pc:sldLayoutMk cId="1769529659" sldId="2147483673"/>
          </pc:sldLayoutMkLst>
        </pc:sldLayoutChg>
        <pc:sldLayoutChg chg="del">
          <pc:chgData name="Brianna Lien" userId="f3b5815a-0702-414c-9464-ffb25822869a" providerId="ADAL" clId="{ECDAFB57-FA01-4433-90EE-F6EDE71CD488}" dt="2024-06-05T13:58:10.581" v="1" actId="47"/>
          <pc:sldLayoutMkLst>
            <pc:docMk/>
            <pc:sldMasterMk cId="3277864969" sldId="2147483660"/>
            <pc:sldLayoutMk cId="2023968041" sldId="2147483674"/>
          </pc:sldLayoutMkLst>
        </pc:sldLayoutChg>
        <pc:sldLayoutChg chg="del">
          <pc:chgData name="Brianna Lien" userId="f3b5815a-0702-414c-9464-ffb25822869a" providerId="ADAL" clId="{ECDAFB57-FA01-4433-90EE-F6EDE71CD488}" dt="2024-06-05T13:58:10.581" v="1" actId="47"/>
          <pc:sldLayoutMkLst>
            <pc:docMk/>
            <pc:sldMasterMk cId="3277864969" sldId="2147483660"/>
            <pc:sldLayoutMk cId="1736039943" sldId="2147483675"/>
          </pc:sldLayoutMkLst>
        </pc:sldLayoutChg>
        <pc:sldLayoutChg chg="del">
          <pc:chgData name="Brianna Lien" userId="f3b5815a-0702-414c-9464-ffb25822869a" providerId="ADAL" clId="{ECDAFB57-FA01-4433-90EE-F6EDE71CD488}" dt="2024-06-05T13:58:10.581" v="1" actId="47"/>
          <pc:sldLayoutMkLst>
            <pc:docMk/>
            <pc:sldMasterMk cId="3277864969" sldId="2147483660"/>
            <pc:sldLayoutMk cId="1592306716" sldId="2147483677"/>
          </pc:sldLayoutMkLst>
        </pc:sldLayoutChg>
        <pc:sldLayoutChg chg="del">
          <pc:chgData name="Brianna Lien" userId="f3b5815a-0702-414c-9464-ffb25822869a" providerId="ADAL" clId="{ECDAFB57-FA01-4433-90EE-F6EDE71CD488}" dt="2024-06-05T13:58:10.581" v="1" actId="47"/>
          <pc:sldLayoutMkLst>
            <pc:docMk/>
            <pc:sldMasterMk cId="3277864969" sldId="2147483660"/>
            <pc:sldLayoutMk cId="3637483254" sldId="2147483678"/>
          </pc:sldLayoutMkLst>
        </pc:sldLayoutChg>
        <pc:sldLayoutChg chg="del">
          <pc:chgData name="Brianna Lien" userId="f3b5815a-0702-414c-9464-ffb25822869a" providerId="ADAL" clId="{ECDAFB57-FA01-4433-90EE-F6EDE71CD488}" dt="2024-06-05T13:58:10.581" v="1" actId="47"/>
          <pc:sldLayoutMkLst>
            <pc:docMk/>
            <pc:sldMasterMk cId="3277864969" sldId="2147483660"/>
            <pc:sldLayoutMk cId="2094220978" sldId="2147483719"/>
          </pc:sldLayoutMkLst>
        </pc:sldLayoutChg>
      </pc:sldMasterChg>
      <pc:sldMasterChg chg="delSldLayout">
        <pc:chgData name="Brianna Lien" userId="f3b5815a-0702-414c-9464-ffb25822869a" providerId="ADAL" clId="{ECDAFB57-FA01-4433-90EE-F6EDE71CD488}" dt="2024-06-05T13:58:25.380" v="10" actId="47"/>
        <pc:sldMasterMkLst>
          <pc:docMk/>
          <pc:sldMasterMk cId="1901923768" sldId="2147483751"/>
        </pc:sldMasterMkLst>
        <pc:sldLayoutChg chg="del">
          <pc:chgData name="Brianna Lien" userId="f3b5815a-0702-414c-9464-ffb25822869a" providerId="ADAL" clId="{ECDAFB57-FA01-4433-90EE-F6EDE71CD488}" dt="2024-06-05T13:58:25.380" v="10" actId="47"/>
          <pc:sldLayoutMkLst>
            <pc:docMk/>
            <pc:sldMasterMk cId="1901923768" sldId="2147483751"/>
            <pc:sldLayoutMk cId="713464161" sldId="2147483780"/>
          </pc:sldLayoutMkLst>
        </pc:sldLayoutChg>
      </pc:sldMasterChg>
    </pc:docChg>
  </pc:docChgLst>
  <pc:docChgLst>
    <pc:chgData name="Brianna Lien" userId="f3b5815a-0702-414c-9464-ffb25822869a" providerId="ADAL" clId="{0509F0D5-9E88-4792-B271-B56FF6DAD3ED}"/>
    <pc:docChg chg="custSel delSld modSld">
      <pc:chgData name="Brianna Lien" userId="f3b5815a-0702-414c-9464-ffb25822869a" providerId="ADAL" clId="{0509F0D5-9E88-4792-B271-B56FF6DAD3ED}" dt="2025-01-10T15:16:51.525" v="215" actId="207"/>
      <pc:docMkLst>
        <pc:docMk/>
      </pc:docMkLst>
      <pc:sldChg chg="modSp del mod">
        <pc:chgData name="Brianna Lien" userId="f3b5815a-0702-414c-9464-ffb25822869a" providerId="ADAL" clId="{0509F0D5-9E88-4792-B271-B56FF6DAD3ED}" dt="2025-01-09T16:31:53.373" v="97" actId="47"/>
        <pc:sldMkLst>
          <pc:docMk/>
          <pc:sldMk cId="2652259109" sldId="277"/>
        </pc:sldMkLst>
      </pc:sldChg>
      <pc:sldChg chg="modSp del mod">
        <pc:chgData name="Brianna Lien" userId="f3b5815a-0702-414c-9464-ffb25822869a" providerId="ADAL" clId="{0509F0D5-9E88-4792-B271-B56FF6DAD3ED}" dt="2025-01-09T16:41:27.288" v="123" actId="47"/>
        <pc:sldMkLst>
          <pc:docMk/>
          <pc:sldMk cId="36038396" sldId="2147469930"/>
        </pc:sldMkLst>
      </pc:sldChg>
      <pc:sldChg chg="addSp delSp modSp mod">
        <pc:chgData name="Brianna Lien" userId="f3b5815a-0702-414c-9464-ffb25822869a" providerId="ADAL" clId="{0509F0D5-9E88-4792-B271-B56FF6DAD3ED}" dt="2025-01-09T16:56:18.809" v="182" actId="20577"/>
        <pc:sldMkLst>
          <pc:docMk/>
          <pc:sldMk cId="3824440216" sldId="2147469931"/>
        </pc:sldMkLst>
      </pc:sldChg>
      <pc:sldChg chg="modSp mod">
        <pc:chgData name="Brianna Lien" userId="f3b5815a-0702-414c-9464-ffb25822869a" providerId="ADAL" clId="{0509F0D5-9E88-4792-B271-B56FF6DAD3ED}" dt="2025-01-10T15:16:51.525" v="215" actId="207"/>
        <pc:sldMkLst>
          <pc:docMk/>
          <pc:sldMk cId="2138931742" sldId="2147469932"/>
        </pc:sldMkLst>
      </pc:sldChg>
      <pc:sldChg chg="modSp mod">
        <pc:chgData name="Brianna Lien" userId="f3b5815a-0702-414c-9464-ffb25822869a" providerId="ADAL" clId="{0509F0D5-9E88-4792-B271-B56FF6DAD3ED}" dt="2025-01-09T16:31:20.745" v="96"/>
        <pc:sldMkLst>
          <pc:docMk/>
          <pc:sldMk cId="973466118" sldId="2147469933"/>
        </pc:sldMkLst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layout>
        <c:manualLayout>
          <c:xMode val="edge"/>
          <c:yMode val="edge"/>
          <c:x val="0.43766908212560379"/>
          <c:y val="0.77767186258431753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32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de-DE"/>
        </a:p>
      </c:txPr>
    </c:title>
    <c:autoTitleDeleted val="0"/>
    <c:plotArea>
      <c:layout>
        <c:manualLayout>
          <c:layoutTarget val="inner"/>
          <c:xMode val="edge"/>
          <c:yMode val="edge"/>
          <c:x val="0.17132327209098863"/>
          <c:y val="0.11753373330226242"/>
          <c:w val="0.48736638898398571"/>
          <c:h val="0.57366974775083179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Months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6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0A25-9842-B7B7-CD267EDEB977}"/>
              </c:ext>
            </c:extLst>
          </c:dPt>
          <c:dPt>
            <c:idx val="1"/>
            <c:invertIfNegative val="0"/>
            <c:bubble3D val="0"/>
            <c:spPr>
              <a:solidFill>
                <a:srgbClr val="00B0F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0A25-9842-B7B7-CD267EDEB977}"/>
              </c:ext>
            </c:extLst>
          </c:dPt>
          <c:cat>
            <c:strRef>
              <c:f>Sheet1!$A$2:$A$3</c:f>
              <c:strCache>
                <c:ptCount val="2"/>
                <c:pt idx="0">
                  <c:v>ADT Alone (N=554)</c:v>
                </c:pt>
                <c:pt idx="1">
                  <c:v>Product X + ADT (N=955)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18.399999999999999</c:v>
                </c:pt>
                <c:pt idx="1">
                  <c:v>40.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0A25-9842-B7B7-CD267EDEB97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544902607"/>
        <c:axId val="544595407"/>
      </c:barChart>
      <c:catAx>
        <c:axId val="544902607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de-DE"/>
          </a:p>
        </c:txPr>
        <c:crossAx val="544595407"/>
        <c:crosses val="autoZero"/>
        <c:auto val="1"/>
        <c:lblAlgn val="ctr"/>
        <c:lblOffset val="100"/>
        <c:noMultiLvlLbl val="0"/>
      </c:catAx>
      <c:valAx>
        <c:axId val="544595407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de-DE"/>
          </a:p>
        </c:txPr>
        <c:crossAx val="544902607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16821484270987869"/>
          <c:y val="0.84890283252479115"/>
          <c:w val="0.3543914755220815"/>
          <c:h val="4.9321319687328488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de-DE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100">
          <a:latin typeface="Arial" panose="020B0604020202020204" pitchFamily="34" charset="0"/>
          <a:cs typeface="Arial" panose="020B0604020202020204" pitchFamily="34" charset="0"/>
        </a:defRPr>
      </a:pPr>
      <a:endParaRPr lang="de-DE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D390C2B-7162-414C-B9FC-717C29B39D6D}" type="datetimeFigureOut">
              <a:rPr lang="de-DE" smtClean="0"/>
              <a:t>23.10.2025</a:t>
            </a:fld>
            <a:endParaRPr lang="de-DE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46897D8-B621-4400-8E77-A874696C1EA9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497336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EAF068B-4865-F409-AAA2-ECB68173367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9A4188E3-389A-9A16-958C-506B3E7B022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BA0F7917-F01E-E272-EF4A-5FECD666581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980473F-C7B1-3C1B-6817-EC2AAF76DFB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6897D8-B621-4400-8E77-A874696C1EA9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843837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EAF068B-4865-F409-AAA2-ECB68173367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9A4188E3-389A-9A16-958C-506B3E7B022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BA0F7917-F01E-E272-EF4A-5FECD666581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980473F-C7B1-3C1B-6817-EC2AAF76DFB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6897D8-B621-4400-8E77-A874696C1EA9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5521140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tiff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emf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tiff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tiff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tiff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tiff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oup 7">
            <a:extLst>
              <a:ext uri="{FF2B5EF4-FFF2-40B4-BE49-F238E27FC236}">
                <a16:creationId xmlns:a16="http://schemas.microsoft.com/office/drawing/2014/main" id="{474544E1-1D09-AB48-85D9-A481C4FDF1D0}"/>
              </a:ext>
            </a:extLst>
          </p:cNvPr>
          <p:cNvGrpSpPr/>
          <p:nvPr userDrawn="1"/>
        </p:nvGrpSpPr>
        <p:grpSpPr>
          <a:xfrm>
            <a:off x="0" y="0"/>
            <a:ext cx="10113069" cy="6858000"/>
            <a:chOff x="20548" y="0"/>
            <a:chExt cx="10113069" cy="6858000"/>
          </a:xfrm>
        </p:grpSpPr>
        <p:sp>
          <p:nvSpPr>
            <p:cNvPr id="35" name="Parallelogram 34">
              <a:extLst>
                <a:ext uri="{FF2B5EF4-FFF2-40B4-BE49-F238E27FC236}">
                  <a16:creationId xmlns:a16="http://schemas.microsoft.com/office/drawing/2014/main" id="{82BFB1BB-79D2-BE49-B32E-796759290FA6}"/>
                </a:ext>
              </a:extLst>
            </p:cNvPr>
            <p:cNvSpPr/>
            <p:nvPr userDrawn="1"/>
          </p:nvSpPr>
          <p:spPr>
            <a:xfrm>
              <a:off x="6679217" y="0"/>
              <a:ext cx="3454400" cy="6858000"/>
            </a:xfrm>
            <a:prstGeom prst="parallelogram">
              <a:avLst>
                <a:gd name="adj" fmla="val 89594"/>
              </a:avLst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5" name="Freeform 24">
              <a:extLst>
                <a:ext uri="{FF2B5EF4-FFF2-40B4-BE49-F238E27FC236}">
                  <a16:creationId xmlns:a16="http://schemas.microsoft.com/office/drawing/2014/main" id="{AF1FF3CA-EB91-6949-9C97-5A2D57B5FF3D}"/>
                </a:ext>
              </a:extLst>
            </p:cNvPr>
            <p:cNvSpPr/>
            <p:nvPr userDrawn="1"/>
          </p:nvSpPr>
          <p:spPr>
            <a:xfrm>
              <a:off x="20548" y="0"/>
              <a:ext cx="9774153" cy="6858000"/>
            </a:xfrm>
            <a:custGeom>
              <a:avLst/>
              <a:gdLst>
                <a:gd name="connsiteX0" fmla="*/ 0 w 9774153"/>
                <a:gd name="connsiteY0" fmla="*/ 0 h 6858000"/>
                <a:gd name="connsiteX1" fmla="*/ 175545 w 9774153"/>
                <a:gd name="connsiteY1" fmla="*/ 0 h 6858000"/>
                <a:gd name="connsiteX2" fmla="*/ 9598608 w 9774153"/>
                <a:gd name="connsiteY2" fmla="*/ 0 h 6858000"/>
                <a:gd name="connsiteX3" fmla="*/ 9774153 w 9774153"/>
                <a:gd name="connsiteY3" fmla="*/ 0 h 6858000"/>
                <a:gd name="connsiteX4" fmla="*/ 6679218 w 9774153"/>
                <a:gd name="connsiteY4" fmla="*/ 6858000 h 6858000"/>
                <a:gd name="connsiteX5" fmla="*/ 6503673 w 9774153"/>
                <a:gd name="connsiteY5" fmla="*/ 6858000 h 6858000"/>
                <a:gd name="connsiteX6" fmla="*/ 175545 w 9774153"/>
                <a:gd name="connsiteY6" fmla="*/ 6858000 h 6858000"/>
                <a:gd name="connsiteX7" fmla="*/ 0 w 9774153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774153" h="6858000">
                  <a:moveTo>
                    <a:pt x="0" y="0"/>
                  </a:moveTo>
                  <a:lnTo>
                    <a:pt x="175545" y="0"/>
                  </a:lnTo>
                  <a:lnTo>
                    <a:pt x="9598608" y="0"/>
                  </a:lnTo>
                  <a:lnTo>
                    <a:pt x="9774153" y="0"/>
                  </a:lnTo>
                  <a:lnTo>
                    <a:pt x="6679218" y="6858000"/>
                  </a:lnTo>
                  <a:lnTo>
                    <a:pt x="6503673" y="6858000"/>
                  </a:lnTo>
                  <a:lnTo>
                    <a:pt x="175545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1F428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FC5B6C0-649B-F34D-9E2D-93A14AB7DD75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495300" y="1122363"/>
            <a:ext cx="7217464" cy="2387600"/>
          </a:xfrm>
        </p:spPr>
        <p:txBody>
          <a:bodyPr anchor="b">
            <a:normAutofit/>
          </a:bodyPr>
          <a:lstStyle>
            <a:lvl1pPr algn="l">
              <a:defRPr sz="3600" baseline="0"/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06DEC47-4B15-AF45-87E9-F97131FB157A}"/>
              </a:ext>
            </a:extLst>
          </p:cNvPr>
          <p:cNvSpPr>
            <a:spLocks noGrp="1"/>
          </p:cNvSpPr>
          <p:nvPr userDrawn="1">
            <p:ph type="subTitle" idx="1"/>
          </p:nvPr>
        </p:nvSpPr>
        <p:spPr>
          <a:xfrm>
            <a:off x="495300" y="3602038"/>
            <a:ext cx="7217464" cy="1655762"/>
          </a:xfrm>
        </p:spPr>
        <p:txBody>
          <a:bodyPr lIns="27432">
            <a:normAutofit/>
          </a:bodyPr>
          <a:lstStyle>
            <a:lvl1pPr marL="0" indent="0" algn="l">
              <a:spcBef>
                <a:spcPts val="600"/>
              </a:spcBef>
              <a:buNone/>
              <a:tabLst>
                <a:tab pos="1139825" algn="l"/>
              </a:tabLst>
              <a:defRPr sz="2000" u="none" baseline="0">
                <a:solidFill>
                  <a:schemeClr val="tx2"/>
                </a:solidFill>
                <a:uFill>
                  <a:solidFill>
                    <a:schemeClr val="accent1"/>
                  </a:solidFill>
                </a:u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8F5BEB15-B2B8-354F-A837-87D401F033E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8849829" y="4348904"/>
            <a:ext cx="3165108" cy="2149233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8C30099A-3FDF-224E-9AED-73506F5DD8C4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3297016" y="336924"/>
            <a:ext cx="1014516" cy="401637"/>
          </a:xfrm>
          <a:prstGeom prst="rect">
            <a:avLst/>
          </a:prstGeom>
        </p:spPr>
      </p:pic>
      <p:sp>
        <p:nvSpPr>
          <p:cNvPr id="20" name="Date Placeholder 19">
            <a:extLst>
              <a:ext uri="{FF2B5EF4-FFF2-40B4-BE49-F238E27FC236}">
                <a16:creationId xmlns:a16="http://schemas.microsoft.com/office/drawing/2014/main" id="{BD3DC730-8A32-F84B-9876-9110A37E47CF}"/>
              </a:ext>
            </a:extLst>
          </p:cNvPr>
          <p:cNvSpPr>
            <a:spLocks noGrp="1"/>
          </p:cNvSpPr>
          <p:nvPr userDrawn="1">
            <p:ph type="dt" sz="half" idx="10"/>
          </p:nvPr>
        </p:nvSpPr>
        <p:spPr/>
        <p:txBody>
          <a:bodyPr/>
          <a:lstStyle/>
          <a:p>
            <a:fld id="{3CE44606-D3B9-6C43-82A9-F1CDB5D49BFD}" type="datetime1">
              <a:rPr lang="en-US" smtClean="0"/>
              <a:t>10/23/2025</a:t>
            </a:fld>
            <a:endParaRPr lang="en-US" dirty="0"/>
          </a:p>
        </p:txBody>
      </p:sp>
      <p:sp>
        <p:nvSpPr>
          <p:cNvPr id="21" name="Footer Placeholder 20">
            <a:extLst>
              <a:ext uri="{FF2B5EF4-FFF2-40B4-BE49-F238E27FC236}">
                <a16:creationId xmlns:a16="http://schemas.microsoft.com/office/drawing/2014/main" id="{A1FC7EC5-A43F-E445-8E38-FD6B75E4F649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>
          <a:xfrm>
            <a:off x="4038600" y="6356350"/>
            <a:ext cx="3531243" cy="365125"/>
          </a:xfrm>
        </p:spPr>
        <p:txBody>
          <a:bodyPr/>
          <a:lstStyle/>
          <a:p>
            <a:r>
              <a:rPr lang="en-US" dirty="0"/>
              <a:t>FOR INTERNAL USE ONLY</a:t>
            </a:r>
          </a:p>
        </p:txBody>
      </p:sp>
      <p:sp>
        <p:nvSpPr>
          <p:cNvPr id="22" name="Slide Number Placeholder 21">
            <a:extLst>
              <a:ext uri="{FF2B5EF4-FFF2-40B4-BE49-F238E27FC236}">
                <a16:creationId xmlns:a16="http://schemas.microsoft.com/office/drawing/2014/main" id="{8C7C6FA7-3214-9D45-89CA-C2538FCFB86D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/>
        <p:txBody>
          <a:bodyPr/>
          <a:lstStyle/>
          <a:p>
            <a:fld id="{C0AFECD8-B8AF-5C4E-B306-A0438013ED66}" type="slidenum">
              <a:rPr lang="en-US" smtClean="0"/>
              <a:pPr/>
              <a:t>‹Nr.›</a:t>
            </a:fld>
            <a:endParaRPr lang="en-US" dirty="0"/>
          </a:p>
        </p:txBody>
      </p:sp>
      <p:grpSp>
        <p:nvGrpSpPr>
          <p:cNvPr id="26" name="Group 25">
            <a:extLst>
              <a:ext uri="{FF2B5EF4-FFF2-40B4-BE49-F238E27FC236}">
                <a16:creationId xmlns:a16="http://schemas.microsoft.com/office/drawing/2014/main" id="{FF894715-2381-2544-8D3E-69C2484082E1}"/>
              </a:ext>
            </a:extLst>
          </p:cNvPr>
          <p:cNvGrpSpPr/>
          <p:nvPr userDrawn="1"/>
        </p:nvGrpSpPr>
        <p:grpSpPr>
          <a:xfrm>
            <a:off x="10046824" y="231451"/>
            <a:ext cx="1930589" cy="549371"/>
            <a:chOff x="8736118" y="1637730"/>
            <a:chExt cx="2478142" cy="705184"/>
          </a:xfrm>
        </p:grpSpPr>
        <p:pic>
          <p:nvPicPr>
            <p:cNvPr id="27" name="Picture 26">
              <a:extLst>
                <a:ext uri="{FF2B5EF4-FFF2-40B4-BE49-F238E27FC236}">
                  <a16:creationId xmlns:a16="http://schemas.microsoft.com/office/drawing/2014/main" id="{FC05D1E0-697E-A64A-BEEE-8165753E26B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/>
            <a:stretch>
              <a:fillRect/>
            </a:stretch>
          </p:blipFill>
          <p:spPr>
            <a:xfrm>
              <a:off x="10509076" y="1637730"/>
              <a:ext cx="705184" cy="705184"/>
            </a:xfrm>
            <a:prstGeom prst="rect">
              <a:avLst/>
            </a:prstGeom>
          </p:spPr>
        </p:pic>
        <p:pic>
          <p:nvPicPr>
            <p:cNvPr id="28" name="Picture 27">
              <a:extLst>
                <a:ext uri="{FF2B5EF4-FFF2-40B4-BE49-F238E27FC236}">
                  <a16:creationId xmlns:a16="http://schemas.microsoft.com/office/drawing/2014/main" id="{6A8BB81E-499F-2B44-B243-C09A0FEBB5A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/>
            <a:stretch>
              <a:fillRect/>
            </a:stretch>
          </p:blipFill>
          <p:spPr>
            <a:xfrm>
              <a:off x="8736118" y="1728542"/>
              <a:ext cx="1397890" cy="55341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85427485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r chart examp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DFA904D-ED8C-AC41-84DE-8253AE32D63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DAB198B-4860-5D47-8F6A-97B7EF5153E4}" type="datetime1">
              <a:rPr lang="en-US" smtClean="0"/>
              <a:t>10/23/2025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CE223AD-CE3D-734A-98DA-F7BD9700DF6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FOR INTERNAL USE ONLY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2C8BEBF-ADEB-9247-AC7D-F5F28250206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0AFECD8-B8AF-5C4E-B306-A0438013ED66}" type="slidenum">
              <a:rPr lang="en-US" smtClean="0"/>
              <a:t>‹Nr.›</a:t>
            </a:fld>
            <a:endParaRPr lang="en-US" dirty="0"/>
          </a:p>
        </p:txBody>
      </p:sp>
      <p:graphicFrame>
        <p:nvGraphicFramePr>
          <p:cNvPr id="8" name="Content Placeholder 7">
            <a:extLst>
              <a:ext uri="{FF2B5EF4-FFF2-40B4-BE49-F238E27FC236}">
                <a16:creationId xmlns:a16="http://schemas.microsoft.com/office/drawing/2014/main" id="{AD822D11-7787-5E4F-BC20-6797A5D67349}"/>
              </a:ext>
            </a:extLst>
          </p:cNvPr>
          <p:cNvGraphicFramePr>
            <a:graphicFrameLocks/>
          </p:cNvGraphicFramePr>
          <p:nvPr userDrawn="1">
            <p:extLst>
              <p:ext uri="{D42A27DB-BD31-4B8C-83A1-F6EECF244321}">
                <p14:modId xmlns:p14="http://schemas.microsoft.com/office/powerpoint/2010/main" val="1552731942"/>
              </p:ext>
            </p:extLst>
          </p:nvPr>
        </p:nvGraphicFramePr>
        <p:xfrm>
          <a:off x="1053750" y="1634706"/>
          <a:ext cx="10515600" cy="486657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pSp>
        <p:nvGrpSpPr>
          <p:cNvPr id="10" name="Group 9">
            <a:extLst>
              <a:ext uri="{FF2B5EF4-FFF2-40B4-BE49-F238E27FC236}">
                <a16:creationId xmlns:a16="http://schemas.microsoft.com/office/drawing/2014/main" id="{9F7810F2-6875-284F-9C46-4B746216E615}"/>
              </a:ext>
            </a:extLst>
          </p:cNvPr>
          <p:cNvGrpSpPr/>
          <p:nvPr userDrawn="1"/>
        </p:nvGrpSpPr>
        <p:grpSpPr>
          <a:xfrm>
            <a:off x="495300" y="1414514"/>
            <a:ext cx="10622363" cy="545786"/>
            <a:chOff x="445058" y="1414514"/>
            <a:chExt cx="10622363" cy="545786"/>
          </a:xfrm>
        </p:grpSpPr>
        <p:sp>
          <p:nvSpPr>
            <p:cNvPr id="11" name="Content Placeholder 7">
              <a:extLst>
                <a:ext uri="{FF2B5EF4-FFF2-40B4-BE49-F238E27FC236}">
                  <a16:creationId xmlns:a16="http://schemas.microsoft.com/office/drawing/2014/main" id="{BF6D785F-3AEF-3845-905B-6CCFDAF9BBF9}"/>
                </a:ext>
              </a:extLst>
            </p:cNvPr>
            <p:cNvSpPr txBox="1">
              <a:spLocks/>
            </p:cNvSpPr>
            <p:nvPr/>
          </p:nvSpPr>
          <p:spPr>
            <a:xfrm>
              <a:off x="445058" y="1414514"/>
              <a:ext cx="10622363" cy="545786"/>
            </a:xfrm>
            <a:prstGeom prst="rect">
              <a:avLst/>
            </a:prstGeom>
          </p:spPr>
          <p:txBody>
            <a:bodyPr vert="horz" lIns="0" tIns="45720" rIns="91440" bIns="45720" rtlCol="0">
              <a:normAutofit/>
            </a:bodyPr>
            <a:lstStyle>
              <a:lvl1pPr marL="228600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40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Helvetica" pitchFamily="2" charset="0"/>
                <a:buChar char="―"/>
                <a:defRPr sz="2000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Courier New" panose="02070309020205020404" pitchFamily="49" charset="0"/>
                <a:buChar char="o"/>
                <a:defRPr sz="1800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600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400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None/>
              </a:pPr>
              <a:r>
                <a:rPr lang="en-US" sz="2000" dirty="0">
                  <a:latin typeface="Arial" panose="020B0604020202020204" pitchFamily="34" charset="0"/>
                  <a:cs typeface="Arial" panose="020B0604020202020204" pitchFamily="34" charset="0"/>
                </a:rPr>
                <a:t>Highly significant increase in MFS vs ADT alone </a:t>
              </a:r>
            </a:p>
          </p:txBody>
        </p:sp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4A2E8C18-73B6-EF42-A02C-C2BEDF582367}"/>
                </a:ext>
              </a:extLst>
            </p:cNvPr>
            <p:cNvCxnSpPr/>
            <p:nvPr/>
          </p:nvCxnSpPr>
          <p:spPr>
            <a:xfrm>
              <a:off x="445058" y="1899138"/>
              <a:ext cx="10420140" cy="0"/>
            </a:xfrm>
            <a:prstGeom prst="line">
              <a:avLst/>
            </a:prstGeom>
            <a:ln w="1905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" name="Title 5">
            <a:extLst>
              <a:ext uri="{FF2B5EF4-FFF2-40B4-BE49-F238E27FC236}">
                <a16:creationId xmlns:a16="http://schemas.microsoft.com/office/drawing/2014/main" id="{31EEF3D0-910B-0342-9BCF-2D0FEE48443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D647CD-5116-964E-9E94-F194DE20D755}"/>
              </a:ext>
            </a:extLst>
          </p:cNvPr>
          <p:cNvSpPr/>
          <p:nvPr userDrawn="1"/>
        </p:nvSpPr>
        <p:spPr>
          <a:xfrm>
            <a:off x="4835719" y="127221"/>
            <a:ext cx="3236181" cy="755374"/>
          </a:xfrm>
          <a:prstGeom prst="rect">
            <a:avLst/>
          </a:prstGeom>
          <a:solidFill>
            <a:srgbClr val="FFFF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Style Example Only</a:t>
            </a:r>
          </a:p>
          <a:p>
            <a:pPr algn="ctr"/>
            <a:r>
              <a:rPr lang="en-US" sz="1400" dirty="0">
                <a:solidFill>
                  <a:schemeClr val="tx1"/>
                </a:solidFill>
              </a:rPr>
              <a:t>Charts cannot be templated</a:t>
            </a:r>
          </a:p>
        </p:txBody>
      </p:sp>
    </p:spTree>
    <p:extLst>
      <p:ext uri="{BB962C8B-B14F-4D97-AF65-F5344CB8AC3E}">
        <p14:creationId xmlns:p14="http://schemas.microsoft.com/office/powerpoint/2010/main" val="220687804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Examp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53427890-ADB8-B24B-8AF6-B623EB4D7D7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9470BA-A674-B94A-BE3E-27443BADEBCC}" type="datetime1">
              <a:rPr lang="en-US" smtClean="0"/>
              <a:t>10/23/2025</a:t>
            </a:fld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635417F-6848-0341-A8F4-A31CF5A1309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FOR INTERNAL USE ONLY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D10FB84-49F2-EE4F-93B5-2E732A14758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0AFECD8-B8AF-5C4E-B306-A0438013ED66}" type="slidenum">
              <a:rPr lang="en-US" smtClean="0"/>
              <a:t>‹Nr.›</a:t>
            </a:fld>
            <a:endParaRPr lang="en-US" dirty="0"/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09F23A7D-69A5-2846-9794-FE510EE271BB}"/>
              </a:ext>
            </a:extLst>
          </p:cNvPr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937638683"/>
              </p:ext>
            </p:extLst>
          </p:nvPr>
        </p:nvGraphicFramePr>
        <p:xfrm>
          <a:off x="2083956" y="2137709"/>
          <a:ext cx="7201210" cy="2939171"/>
        </p:xfrm>
        <a:graphic>
          <a:graphicData uri="http://schemas.openxmlformats.org/drawingml/2006/table">
            <a:tbl>
              <a:tblPr firstRow="1" bandRow="1">
                <a:tableStyleId>{073A0DAA-6AF3-43AB-8588-CEC1D06C72B9}</a:tableStyleId>
              </a:tblPr>
              <a:tblGrid>
                <a:gridCol w="1440242">
                  <a:extLst>
                    <a:ext uri="{9D8B030D-6E8A-4147-A177-3AD203B41FA5}">
                      <a16:colId xmlns:a16="http://schemas.microsoft.com/office/drawing/2014/main" val="3957934296"/>
                    </a:ext>
                  </a:extLst>
                </a:gridCol>
                <a:gridCol w="1440242">
                  <a:extLst>
                    <a:ext uri="{9D8B030D-6E8A-4147-A177-3AD203B41FA5}">
                      <a16:colId xmlns:a16="http://schemas.microsoft.com/office/drawing/2014/main" val="3389176171"/>
                    </a:ext>
                  </a:extLst>
                </a:gridCol>
                <a:gridCol w="1440242">
                  <a:extLst>
                    <a:ext uri="{9D8B030D-6E8A-4147-A177-3AD203B41FA5}">
                      <a16:colId xmlns:a16="http://schemas.microsoft.com/office/drawing/2014/main" val="2668702004"/>
                    </a:ext>
                  </a:extLst>
                </a:gridCol>
                <a:gridCol w="1440242">
                  <a:extLst>
                    <a:ext uri="{9D8B030D-6E8A-4147-A177-3AD203B41FA5}">
                      <a16:colId xmlns:a16="http://schemas.microsoft.com/office/drawing/2014/main" val="4278197419"/>
                    </a:ext>
                  </a:extLst>
                </a:gridCol>
                <a:gridCol w="1440242">
                  <a:extLst>
                    <a:ext uri="{9D8B030D-6E8A-4147-A177-3AD203B41FA5}">
                      <a16:colId xmlns:a16="http://schemas.microsoft.com/office/drawing/2014/main" val="774662539"/>
                    </a:ext>
                  </a:extLst>
                </a:gridCol>
              </a:tblGrid>
              <a:tr h="645685">
                <a:tc>
                  <a:txBody>
                    <a:bodyPr/>
                    <a:lstStyle/>
                    <a:p>
                      <a:r>
                        <a:rPr lang="en-US" sz="1400" b="0" cap="none" spc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XXXXX</a:t>
                      </a:r>
                      <a:endParaRPr lang="en-US" sz="1400" b="0" cap="none" spc="0" dirty="0">
                        <a:ln w="0"/>
                        <a:solidFill>
                          <a:schemeClr val="tx1"/>
                        </a:solidFill>
                        <a:effectLst>
                          <a:outerShdw blurRad="38100" dist="19050" dir="2700000" algn="tl" rotWithShape="0">
                            <a:schemeClr val="dk1">
                              <a:alpha val="40000"/>
                            </a:schemeClr>
                          </a:outerShdw>
                        </a:effectLst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b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52229324"/>
                  </a:ext>
                </a:extLst>
              </a:tr>
              <a:tr h="572756">
                <a:tc>
                  <a:txBody>
                    <a:bodyPr/>
                    <a:lstStyle/>
                    <a:p>
                      <a:pPr algn="l"/>
                      <a:r>
                        <a:rPr lang="en-US" sz="1400" b="0" cap="none" spc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XXXXX</a:t>
                      </a:r>
                      <a:endParaRPr lang="en-US" sz="14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9525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0" cap="none" spc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XXXXX</a:t>
                      </a:r>
                      <a:endParaRPr lang="en-US" sz="14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0" cap="none" spc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XXXXX</a:t>
                      </a:r>
                      <a:endParaRPr lang="en-US" sz="14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0" cap="none" spc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XXXXX</a:t>
                      </a:r>
                      <a:endParaRPr lang="en-US" sz="14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0" cap="none" spc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XXXXX</a:t>
                      </a:r>
                      <a:endParaRPr lang="en-US" sz="14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49318197"/>
                  </a:ext>
                </a:extLst>
              </a:tr>
              <a:tr h="860365">
                <a:tc>
                  <a:txBody>
                    <a:bodyPr/>
                    <a:lstStyle/>
                    <a:p>
                      <a:pPr algn="l"/>
                      <a:r>
                        <a:rPr lang="en-US" sz="1400" b="0" cap="none" spc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XXXXX</a:t>
                      </a:r>
                      <a:endParaRPr lang="en-US" sz="14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9525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0" cap="none" spc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XXXXX</a:t>
                      </a:r>
                      <a:endParaRPr lang="en-US" sz="14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0" cap="none" spc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XXXXX</a:t>
                      </a:r>
                      <a:endParaRPr lang="en-US" sz="14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0" cap="none" spc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XXXXX</a:t>
                      </a:r>
                      <a:endParaRPr lang="en-US" sz="14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0" cap="none" spc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XXXXX</a:t>
                      </a:r>
                      <a:endParaRPr lang="en-US" sz="14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57712195"/>
                  </a:ext>
                </a:extLst>
              </a:tr>
              <a:tr h="860365">
                <a:tc>
                  <a:txBody>
                    <a:bodyPr/>
                    <a:lstStyle/>
                    <a:p>
                      <a:pPr algn="l"/>
                      <a:r>
                        <a:rPr lang="en-US" sz="1400" b="0" cap="none" spc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XXXXX</a:t>
                      </a:r>
                      <a:endParaRPr lang="en-US" sz="14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9525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0" cap="none" spc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XXXXX</a:t>
                      </a:r>
                      <a:endParaRPr lang="en-US" sz="14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0" cap="none" spc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XXXXX</a:t>
                      </a:r>
                      <a:endParaRPr lang="en-US" sz="14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0" cap="none" spc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XXXXX</a:t>
                      </a:r>
                      <a:endParaRPr lang="en-US" sz="14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0" cap="none" spc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XXXXX</a:t>
                      </a:r>
                      <a:endParaRPr lang="en-US" sz="14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38281970"/>
                  </a:ext>
                </a:extLst>
              </a:tr>
            </a:tbl>
          </a:graphicData>
        </a:graphic>
      </p:graphicFrame>
      <p:sp>
        <p:nvSpPr>
          <p:cNvPr id="10" name="Title 9">
            <a:extLst>
              <a:ext uri="{FF2B5EF4-FFF2-40B4-BE49-F238E27FC236}">
                <a16:creationId xmlns:a16="http://schemas.microsoft.com/office/drawing/2014/main" id="{8675FDF3-1F72-0540-A111-532C2AFF97C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127D5F87-7E05-A54C-B75B-D3238725747F}"/>
              </a:ext>
            </a:extLst>
          </p:cNvPr>
          <p:cNvSpPr/>
          <p:nvPr userDrawn="1"/>
        </p:nvSpPr>
        <p:spPr>
          <a:xfrm>
            <a:off x="4835719" y="127221"/>
            <a:ext cx="3236181" cy="755374"/>
          </a:xfrm>
          <a:prstGeom prst="rect">
            <a:avLst/>
          </a:prstGeom>
          <a:solidFill>
            <a:srgbClr val="FFFF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Style Example Only</a:t>
            </a:r>
          </a:p>
          <a:p>
            <a:pPr algn="ctr"/>
            <a:r>
              <a:rPr lang="en-US" sz="1400" dirty="0">
                <a:solidFill>
                  <a:schemeClr val="tx1"/>
                </a:solidFill>
              </a:rPr>
              <a:t>Tables cannot be templated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D170E67E-9ABC-2D4F-937D-3CD77FBD4A1D}"/>
              </a:ext>
            </a:extLst>
          </p:cNvPr>
          <p:cNvGrpSpPr/>
          <p:nvPr userDrawn="1"/>
        </p:nvGrpSpPr>
        <p:grpSpPr>
          <a:xfrm>
            <a:off x="2083956" y="1472638"/>
            <a:ext cx="9033707" cy="545786"/>
            <a:chOff x="2033714" y="1472638"/>
            <a:chExt cx="9033707" cy="545786"/>
          </a:xfrm>
        </p:grpSpPr>
        <p:sp>
          <p:nvSpPr>
            <p:cNvPr id="11" name="Content Placeholder 7">
              <a:extLst>
                <a:ext uri="{FF2B5EF4-FFF2-40B4-BE49-F238E27FC236}">
                  <a16:creationId xmlns:a16="http://schemas.microsoft.com/office/drawing/2014/main" id="{24B5BAB3-15B5-8644-B023-9811CD87B122}"/>
                </a:ext>
              </a:extLst>
            </p:cNvPr>
            <p:cNvSpPr txBox="1">
              <a:spLocks/>
            </p:cNvSpPr>
            <p:nvPr/>
          </p:nvSpPr>
          <p:spPr>
            <a:xfrm>
              <a:off x="2033714" y="1472638"/>
              <a:ext cx="9033707" cy="545786"/>
            </a:xfrm>
            <a:prstGeom prst="rect">
              <a:avLst/>
            </a:prstGeom>
          </p:spPr>
          <p:txBody>
            <a:bodyPr vert="horz" lIns="0" tIns="45720" rIns="91440" bIns="45720" rtlCol="0">
              <a:normAutofit/>
            </a:bodyPr>
            <a:lstStyle>
              <a:lvl1pPr marL="228600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40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Helvetica" pitchFamily="2" charset="0"/>
                <a:buChar char="―"/>
                <a:defRPr sz="2000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Courier New" panose="02070309020205020404" pitchFamily="49" charset="0"/>
                <a:buChar char="o"/>
                <a:defRPr sz="1800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600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400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None/>
              </a:pPr>
              <a:r>
                <a:rPr lang="en-US" sz="2000" dirty="0">
                  <a:latin typeface="Arial" panose="020B0604020202020204" pitchFamily="34" charset="0"/>
                  <a:cs typeface="Arial" panose="020B0604020202020204" pitchFamily="34" charset="0"/>
                </a:rPr>
                <a:t>Table</a:t>
              </a:r>
            </a:p>
          </p:txBody>
        </p:sp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E9006CA3-C958-8548-A9BA-119C6D4F859B}"/>
                </a:ext>
              </a:extLst>
            </p:cNvPr>
            <p:cNvCxnSpPr>
              <a:cxnSpLocks/>
            </p:cNvCxnSpPr>
            <p:nvPr/>
          </p:nvCxnSpPr>
          <p:spPr>
            <a:xfrm>
              <a:off x="2033714" y="1899138"/>
              <a:ext cx="7201210" cy="0"/>
            </a:xfrm>
            <a:prstGeom prst="line">
              <a:avLst/>
            </a:prstGeom>
            <a:ln w="1905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12541098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apti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6388CBA-B1E9-5943-8F4A-6BE859EC9CD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013506" y="1864281"/>
            <a:ext cx="6172200" cy="3685729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3AF3F6E-6154-1045-826E-39C332920FB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5644ACD-FC73-5041-B59E-8E665B5F2471}" type="datetime1">
              <a:rPr lang="en-US" smtClean="0"/>
              <a:t>10/23/2025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13AA38A-A203-E844-9D1B-2248DDE1C82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FOR INTERNAL USE ONLY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9A11E2F-5213-8D42-97AD-3ADF8E30AE0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21966" y="6397451"/>
            <a:ext cx="394643" cy="324024"/>
          </a:xfrm>
        </p:spPr>
        <p:txBody>
          <a:bodyPr/>
          <a:lstStyle/>
          <a:p>
            <a:fld id="{C0AFECD8-B8AF-5C4E-B306-A0438013ED66}" type="slidenum">
              <a:rPr lang="en-US" smtClean="0"/>
              <a:t>‹Nr.›</a:t>
            </a:fld>
            <a:endParaRPr lang="en-US" dirty="0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5824CEAE-9DE2-124A-916A-B912EA20008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C9237C4A-455C-6141-A5F7-EE17FF75CE27}"/>
              </a:ext>
            </a:extLst>
          </p:cNvPr>
          <p:cNvSpPr txBox="1">
            <a:spLocks/>
          </p:cNvSpPr>
          <p:nvPr userDrawn="1"/>
        </p:nvSpPr>
        <p:spPr>
          <a:xfrm>
            <a:off x="839788" y="984079"/>
            <a:ext cx="3932237" cy="1600200"/>
          </a:xfrm>
          <a:prstGeom prst="rect">
            <a:avLst/>
          </a:prstGeom>
        </p:spPr>
        <p:txBody>
          <a:bodyPr vert="horz" lIns="0" tIns="45720" rIns="91440" bIns="45720" rtlCol="0" anchor="b">
            <a:normAutofit/>
          </a:bodyPr>
          <a:lstStyle>
            <a:lvl1pPr algn="l" defTabSz="9144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2400" b="1" i="0" kern="1200" cap="all" baseline="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24" name="Text Placeholder 14">
            <a:extLst>
              <a:ext uri="{FF2B5EF4-FFF2-40B4-BE49-F238E27FC236}">
                <a16:creationId xmlns:a16="http://schemas.microsoft.com/office/drawing/2014/main" id="{AA6D7610-CBFE-1746-914B-FC52DCFF093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38200" y="1925036"/>
            <a:ext cx="3933825" cy="1458912"/>
          </a:xfrm>
        </p:spPr>
        <p:txBody>
          <a:bodyPr anchor="t"/>
          <a:lstStyle>
            <a:lvl1pPr marL="0" indent="0">
              <a:buNone/>
              <a:defRPr b="1" cap="all" baseline="0"/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05012352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3DA34716-9CB5-0B46-9BC2-9833CC8B7744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1494846"/>
            <a:ext cx="6172200" cy="3912042"/>
          </a:xfrm>
        </p:spPr>
        <p:txBody>
          <a:bodyPr anchor="ctr"/>
          <a:lstStyle>
            <a:lvl1pPr marL="0" indent="0" algn="ctr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256B722-8619-394F-8953-EEAE4672EF93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3440927"/>
            <a:ext cx="3932237" cy="1965960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D336B82E-341C-9D49-BE66-C1B30D426E9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F38CF7B-2017-C642-A9EE-8A02B9085AE7}" type="datetime1">
              <a:rPr lang="en-US" smtClean="0"/>
              <a:t>10/23/2025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0E584CC-6AF3-BA45-A758-AE9107A981C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FOR INTERNAL USE ONLY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3885300-3194-3D44-A000-58B58BCB180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0AFECD8-B8AF-5C4E-B306-A0438013ED66}" type="slidenum">
              <a:rPr lang="en-US" smtClean="0"/>
              <a:t>‹Nr.›</a:t>
            </a:fld>
            <a:endParaRPr lang="en-US" dirty="0"/>
          </a:p>
        </p:txBody>
      </p:sp>
      <p:sp>
        <p:nvSpPr>
          <p:cNvPr id="12" name="Title 7">
            <a:extLst>
              <a:ext uri="{FF2B5EF4-FFF2-40B4-BE49-F238E27FC236}">
                <a16:creationId xmlns:a16="http://schemas.microsoft.com/office/drawing/2014/main" id="{EB02C3C5-7F6B-694F-8C79-1053069585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5299" y="125128"/>
            <a:ext cx="10448193" cy="890872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DE1A07E2-D097-A748-A2EB-77F8BD79472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38200" y="1925036"/>
            <a:ext cx="3933825" cy="1458912"/>
          </a:xfrm>
        </p:spPr>
        <p:txBody>
          <a:bodyPr anchor="b"/>
          <a:lstStyle>
            <a:lvl1pPr marL="0" indent="0">
              <a:buNone/>
              <a:defRPr b="1" cap="all" baseline="0"/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08893385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ext no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03336" y="187690"/>
            <a:ext cx="10799866" cy="782031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4"/>
          </p:nvPr>
        </p:nvSpPr>
        <p:spPr bwMode="gray">
          <a:xfrm>
            <a:off x="490466" y="1295401"/>
            <a:ext cx="11193569" cy="4991100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2C54F63-F91E-4FB9-B337-0BF43F3795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29914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45AADF22-57BE-5644-9C47-1004662BB291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0" y="0"/>
            <a:ext cx="12193587" cy="6858000"/>
          </a:xfrm>
          <a:prstGeom prst="rect">
            <a:avLst/>
          </a:prstGeom>
        </p:spPr>
      </p:pic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4026263" y="3054609"/>
            <a:ext cx="7393184" cy="592952"/>
          </a:xfrm>
        </p:spPr>
        <p:txBody>
          <a:bodyPr anchor="b"/>
          <a:lstStyle>
            <a:lvl1pPr marL="0" indent="0" algn="r">
              <a:buNone/>
              <a:defRPr sz="2100">
                <a:solidFill>
                  <a:schemeClr val="bg1"/>
                </a:solidFill>
              </a:defRPr>
            </a:lvl1pPr>
            <a:lvl2pPr marL="0" indent="0" algn="l">
              <a:buNone/>
              <a:defRPr sz="2000">
                <a:solidFill>
                  <a:schemeClr val="bg1"/>
                </a:solidFill>
              </a:defRPr>
            </a:lvl2pPr>
            <a:lvl3pPr marL="0" indent="0" algn="l">
              <a:buNone/>
              <a:defRPr sz="2000">
                <a:solidFill>
                  <a:schemeClr val="bg1"/>
                </a:solidFill>
              </a:defRPr>
            </a:lvl3pPr>
            <a:lvl4pPr marL="0" indent="0" algn="l">
              <a:buNone/>
              <a:defRPr sz="2000">
                <a:solidFill>
                  <a:schemeClr val="bg1"/>
                </a:solidFill>
              </a:defRPr>
            </a:lvl4pPr>
            <a:lvl5pPr marL="0" indent="0" algn="l">
              <a:buNone/>
              <a:defRPr sz="2000">
                <a:solidFill>
                  <a:schemeClr val="bg1"/>
                </a:solidFill>
              </a:defRPr>
            </a:lvl5pPr>
            <a:lvl6pPr marL="0" indent="0" algn="l">
              <a:buNone/>
              <a:defRPr sz="2000">
                <a:solidFill>
                  <a:schemeClr val="bg1"/>
                </a:solidFill>
              </a:defRPr>
            </a:lvl6pPr>
            <a:lvl7pPr marL="0" indent="0" algn="l">
              <a:buNone/>
              <a:defRPr sz="2000">
                <a:solidFill>
                  <a:schemeClr val="bg1"/>
                </a:solidFill>
              </a:defRPr>
            </a:lvl7pPr>
            <a:lvl8pPr marL="0" indent="0" algn="l">
              <a:buNone/>
              <a:defRPr sz="2000">
                <a:solidFill>
                  <a:schemeClr val="bg1"/>
                </a:solidFill>
              </a:defRPr>
            </a:lvl8pPr>
            <a:lvl9pPr marL="0" indent="0" algn="l">
              <a:buNone/>
              <a:defRPr sz="2000">
                <a:solidFill>
                  <a:schemeClr val="bg1"/>
                </a:solidFill>
              </a:defRPr>
            </a:lvl9pPr>
          </a:lstStyle>
          <a:p>
            <a:pPr algn="r"/>
            <a:r>
              <a:rPr lang="de-DE" sz="21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ster-Untertitelformat bearbeiten</a:t>
            </a:r>
            <a:endParaRPr lang="en-US" sz="21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/>
          </p:nvPr>
        </p:nvSpPr>
        <p:spPr bwMode="gray">
          <a:xfrm>
            <a:off x="7818980" y="6192987"/>
            <a:ext cx="3600469" cy="238811"/>
          </a:xfrm>
        </p:spPr>
        <p:txBody>
          <a:bodyPr anchor="ctr"/>
          <a:lstStyle>
            <a:lvl1pPr algn="r">
              <a:spcBef>
                <a:spcPts val="0"/>
              </a:spcBef>
              <a:spcAft>
                <a:spcPts val="0"/>
              </a:spcAft>
              <a:defRPr sz="1200" b="0">
                <a:solidFill>
                  <a:schemeClr val="bg1"/>
                </a:solidFill>
              </a:defRPr>
            </a:lvl1pPr>
            <a:lvl2pPr marL="0" indent="0">
              <a:spcBef>
                <a:spcPts val="180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3255CE6D-5EF3-4419-9F4A-FABB73D91E4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78425" y="1591196"/>
            <a:ext cx="8167324" cy="1515981"/>
          </a:xfrm>
        </p:spPr>
        <p:txBody>
          <a:bodyPr/>
          <a:lstStyle>
            <a:lvl1pPr algn="r">
              <a:defRPr sz="4000"/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pic>
        <p:nvPicPr>
          <p:cNvPr id="6" name="Picture 2" descr="Logo&#10;&#10;Description automatically generated">
            <a:extLst>
              <a:ext uri="{FF2B5EF4-FFF2-40B4-BE49-F238E27FC236}">
                <a16:creationId xmlns:a16="http://schemas.microsoft.com/office/drawing/2014/main" id="{BD1C8730-CA94-78A7-D66E-BE92561DA6D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r="34159"/>
          <a:stretch/>
        </p:blipFill>
        <p:spPr>
          <a:xfrm>
            <a:off x="1464527" y="125581"/>
            <a:ext cx="1544680" cy="9168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386411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BE1EB75A-C591-401F-AF89-9D380C47F27C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0" y="0"/>
            <a:ext cx="12193587" cy="6858000"/>
          </a:xfrm>
          <a:prstGeom prst="rect">
            <a:avLst/>
          </a:prstGeom>
        </p:spPr>
      </p:pic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4026263" y="3054609"/>
            <a:ext cx="7393184" cy="592952"/>
          </a:xfrm>
        </p:spPr>
        <p:txBody>
          <a:bodyPr anchor="b"/>
          <a:lstStyle>
            <a:lvl1pPr marL="0" indent="0" algn="r">
              <a:buNone/>
              <a:defRPr sz="2100">
                <a:solidFill>
                  <a:schemeClr val="bg1"/>
                </a:solidFill>
              </a:defRPr>
            </a:lvl1pPr>
            <a:lvl2pPr marL="0" indent="0" algn="l">
              <a:buNone/>
              <a:defRPr sz="2000">
                <a:solidFill>
                  <a:schemeClr val="bg1"/>
                </a:solidFill>
              </a:defRPr>
            </a:lvl2pPr>
            <a:lvl3pPr marL="0" indent="0" algn="l">
              <a:buNone/>
              <a:defRPr sz="2000">
                <a:solidFill>
                  <a:schemeClr val="bg1"/>
                </a:solidFill>
              </a:defRPr>
            </a:lvl3pPr>
            <a:lvl4pPr marL="0" indent="0" algn="l">
              <a:buNone/>
              <a:defRPr sz="2000">
                <a:solidFill>
                  <a:schemeClr val="bg1"/>
                </a:solidFill>
              </a:defRPr>
            </a:lvl4pPr>
            <a:lvl5pPr marL="0" indent="0" algn="l">
              <a:buNone/>
              <a:defRPr sz="2000">
                <a:solidFill>
                  <a:schemeClr val="bg1"/>
                </a:solidFill>
              </a:defRPr>
            </a:lvl5pPr>
            <a:lvl6pPr marL="0" indent="0" algn="l">
              <a:buNone/>
              <a:defRPr sz="2000">
                <a:solidFill>
                  <a:schemeClr val="bg1"/>
                </a:solidFill>
              </a:defRPr>
            </a:lvl6pPr>
            <a:lvl7pPr marL="0" indent="0" algn="l">
              <a:buNone/>
              <a:defRPr sz="2000">
                <a:solidFill>
                  <a:schemeClr val="bg1"/>
                </a:solidFill>
              </a:defRPr>
            </a:lvl7pPr>
            <a:lvl8pPr marL="0" indent="0" algn="l">
              <a:buNone/>
              <a:defRPr sz="2000">
                <a:solidFill>
                  <a:schemeClr val="bg1"/>
                </a:solidFill>
              </a:defRPr>
            </a:lvl8pPr>
            <a:lvl9pPr marL="0" indent="0" algn="l">
              <a:buNone/>
              <a:defRPr sz="2000">
                <a:solidFill>
                  <a:schemeClr val="bg1"/>
                </a:solidFill>
              </a:defRPr>
            </a:lvl9pPr>
          </a:lstStyle>
          <a:p>
            <a:pPr algn="r"/>
            <a:r>
              <a:rPr lang="de-DE" sz="21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ster-Untertitelformat bearbeiten</a:t>
            </a:r>
            <a:endParaRPr lang="en-US" sz="21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/>
          </p:nvPr>
        </p:nvSpPr>
        <p:spPr bwMode="gray">
          <a:xfrm>
            <a:off x="7818980" y="6192987"/>
            <a:ext cx="3600469" cy="238811"/>
          </a:xfrm>
        </p:spPr>
        <p:txBody>
          <a:bodyPr anchor="ctr"/>
          <a:lstStyle>
            <a:lvl1pPr algn="r">
              <a:spcBef>
                <a:spcPts val="0"/>
              </a:spcBef>
              <a:spcAft>
                <a:spcPts val="0"/>
              </a:spcAft>
              <a:defRPr sz="1200" b="0">
                <a:solidFill>
                  <a:schemeClr val="bg1"/>
                </a:solidFill>
              </a:defRPr>
            </a:lvl1pPr>
            <a:lvl2pPr marL="0" indent="0">
              <a:spcBef>
                <a:spcPts val="180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3255CE6D-5EF3-4419-9F4A-FABB73D91E4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78425" y="1591196"/>
            <a:ext cx="8167324" cy="1515981"/>
          </a:xfrm>
        </p:spPr>
        <p:txBody>
          <a:bodyPr/>
          <a:lstStyle>
            <a:lvl1pPr algn="r">
              <a:defRPr sz="4000"/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pic>
        <p:nvPicPr>
          <p:cNvPr id="2" name="Picture 2" descr="Logo&#10;&#10;Description automatically generated">
            <a:extLst>
              <a:ext uri="{FF2B5EF4-FFF2-40B4-BE49-F238E27FC236}">
                <a16:creationId xmlns:a16="http://schemas.microsoft.com/office/drawing/2014/main" id="{2E873185-5DCF-C7B0-5989-F54C4737C15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r="34159"/>
          <a:stretch/>
        </p:blipFill>
        <p:spPr>
          <a:xfrm>
            <a:off x="10558652" y="50766"/>
            <a:ext cx="1544680" cy="9168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333349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on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BBB05317-17DF-487F-B85C-CEEFDC19C559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0" y="0"/>
            <a:ext cx="12193587" cy="6858000"/>
          </a:xfrm>
          <a:prstGeom prst="rect">
            <a:avLst/>
          </a:prstGeom>
        </p:spPr>
      </p:pic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4026263" y="3054609"/>
            <a:ext cx="7393184" cy="592952"/>
          </a:xfrm>
        </p:spPr>
        <p:txBody>
          <a:bodyPr anchor="b"/>
          <a:lstStyle>
            <a:lvl1pPr marL="0" indent="0" algn="r">
              <a:buNone/>
              <a:defRPr sz="2100">
                <a:solidFill>
                  <a:schemeClr val="bg1"/>
                </a:solidFill>
              </a:defRPr>
            </a:lvl1pPr>
            <a:lvl2pPr marL="0" indent="0" algn="l">
              <a:buNone/>
              <a:defRPr sz="2000">
                <a:solidFill>
                  <a:schemeClr val="bg1"/>
                </a:solidFill>
              </a:defRPr>
            </a:lvl2pPr>
            <a:lvl3pPr marL="0" indent="0" algn="l">
              <a:buNone/>
              <a:defRPr sz="2000">
                <a:solidFill>
                  <a:schemeClr val="bg1"/>
                </a:solidFill>
              </a:defRPr>
            </a:lvl3pPr>
            <a:lvl4pPr marL="0" indent="0" algn="l">
              <a:buNone/>
              <a:defRPr sz="2000">
                <a:solidFill>
                  <a:schemeClr val="bg1"/>
                </a:solidFill>
              </a:defRPr>
            </a:lvl4pPr>
            <a:lvl5pPr marL="0" indent="0" algn="l">
              <a:buNone/>
              <a:defRPr sz="2000">
                <a:solidFill>
                  <a:schemeClr val="bg1"/>
                </a:solidFill>
              </a:defRPr>
            </a:lvl5pPr>
            <a:lvl6pPr marL="0" indent="0" algn="l">
              <a:buNone/>
              <a:defRPr sz="2000">
                <a:solidFill>
                  <a:schemeClr val="bg1"/>
                </a:solidFill>
              </a:defRPr>
            </a:lvl6pPr>
            <a:lvl7pPr marL="0" indent="0" algn="l">
              <a:buNone/>
              <a:defRPr sz="2000">
                <a:solidFill>
                  <a:schemeClr val="bg1"/>
                </a:solidFill>
              </a:defRPr>
            </a:lvl7pPr>
            <a:lvl8pPr marL="0" indent="0" algn="l">
              <a:buNone/>
              <a:defRPr sz="2000">
                <a:solidFill>
                  <a:schemeClr val="bg1"/>
                </a:solidFill>
              </a:defRPr>
            </a:lvl8pPr>
            <a:lvl9pPr marL="0" indent="0" algn="l">
              <a:buNone/>
              <a:defRPr sz="2000">
                <a:solidFill>
                  <a:schemeClr val="bg1"/>
                </a:solidFill>
              </a:defRPr>
            </a:lvl9pPr>
          </a:lstStyle>
          <a:p>
            <a:pPr algn="r"/>
            <a:r>
              <a:rPr lang="de-DE" sz="21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ster-Untertitelformat bearbeiten</a:t>
            </a:r>
            <a:endParaRPr lang="en-US" sz="21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/>
          </p:nvPr>
        </p:nvSpPr>
        <p:spPr bwMode="gray">
          <a:xfrm>
            <a:off x="7818980" y="6192987"/>
            <a:ext cx="3600469" cy="238811"/>
          </a:xfrm>
        </p:spPr>
        <p:txBody>
          <a:bodyPr anchor="ctr"/>
          <a:lstStyle>
            <a:lvl1pPr algn="r">
              <a:spcBef>
                <a:spcPts val="0"/>
              </a:spcBef>
              <a:spcAft>
                <a:spcPts val="0"/>
              </a:spcAft>
              <a:defRPr sz="1200" b="0">
                <a:solidFill>
                  <a:schemeClr val="bg1"/>
                </a:solidFill>
              </a:defRPr>
            </a:lvl1pPr>
            <a:lvl2pPr marL="0" indent="0">
              <a:spcBef>
                <a:spcPts val="180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3255CE6D-5EF3-4419-9F4A-FABB73D91E4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78425" y="1591196"/>
            <a:ext cx="8167324" cy="1515981"/>
          </a:xfrm>
        </p:spPr>
        <p:txBody>
          <a:bodyPr/>
          <a:lstStyle>
            <a:lvl1pPr algn="r">
              <a:defRPr sz="4000"/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pic>
        <p:nvPicPr>
          <p:cNvPr id="2" name="Picture 2" descr="Logo&#10;&#10;Description automatically generated">
            <a:extLst>
              <a:ext uri="{FF2B5EF4-FFF2-40B4-BE49-F238E27FC236}">
                <a16:creationId xmlns:a16="http://schemas.microsoft.com/office/drawing/2014/main" id="{E7E68122-26AB-2952-7F08-2A3C7A6628F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r="34159"/>
          <a:stretch/>
        </p:blipFill>
        <p:spPr>
          <a:xfrm>
            <a:off x="10558652" y="50766"/>
            <a:ext cx="1544680" cy="9168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285712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no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03336" y="187692"/>
            <a:ext cx="10799866" cy="782031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>
          <a:xfrm>
            <a:off x="10069237" y="6617933"/>
            <a:ext cx="392377" cy="108000"/>
          </a:xfrm>
        </p:spPr>
        <p:txBody>
          <a:bodyPr/>
          <a:lstStyle/>
          <a:p>
            <a:fld id="{EEAD9179-7A6B-4268-BEB2-F3B8EB06115B}" type="slidenum">
              <a:rPr lang="en-US" smtClean="0"/>
              <a:t>‹Nr.›</a:t>
            </a:fld>
            <a:endParaRPr lang="en-US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4"/>
          </p:nvPr>
        </p:nvSpPr>
        <p:spPr bwMode="gray">
          <a:xfrm>
            <a:off x="490467" y="1295401"/>
            <a:ext cx="11193569" cy="4991100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2C54F63-F91E-4FB9-B337-0BF43F3795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17068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 2"/>
          <p:cNvSpPr>
            <a:spLocks noGrp="1"/>
          </p:cNvSpPr>
          <p:nvPr>
            <p:ph type="subTitle" idx="13"/>
          </p:nvPr>
        </p:nvSpPr>
        <p:spPr bwMode="gray">
          <a:xfrm>
            <a:off x="531049" y="1138299"/>
            <a:ext cx="10799866" cy="252000"/>
          </a:xfrm>
        </p:spPr>
        <p:txBody>
          <a:bodyPr anchor="t"/>
          <a:lstStyle>
            <a:lvl1pPr marL="0" indent="0" algn="l">
              <a:buNone/>
              <a:defRPr sz="1800">
                <a:solidFill>
                  <a:schemeClr val="accent1"/>
                </a:solidFill>
              </a:defRPr>
            </a:lvl1pPr>
            <a:lvl2pPr marL="0" indent="0" algn="l">
              <a:buNone/>
              <a:defRPr sz="1800">
                <a:solidFill>
                  <a:schemeClr val="accent1"/>
                </a:solidFill>
              </a:defRPr>
            </a:lvl2pPr>
            <a:lvl3pPr marL="0" indent="0" algn="l">
              <a:buNone/>
              <a:defRPr sz="1800">
                <a:solidFill>
                  <a:schemeClr val="accent1"/>
                </a:solidFill>
              </a:defRPr>
            </a:lvl3pPr>
            <a:lvl4pPr marL="0" indent="0" algn="l">
              <a:buNone/>
              <a:defRPr sz="1800">
                <a:solidFill>
                  <a:schemeClr val="accent1"/>
                </a:solidFill>
              </a:defRPr>
            </a:lvl4pPr>
            <a:lvl5pPr marL="0" indent="0" algn="l">
              <a:buNone/>
              <a:defRPr sz="1800">
                <a:solidFill>
                  <a:schemeClr val="accent1"/>
                </a:solidFill>
              </a:defRPr>
            </a:lvl5pPr>
            <a:lvl6pPr marL="0" indent="0" algn="l">
              <a:buNone/>
              <a:defRPr sz="1800">
                <a:solidFill>
                  <a:schemeClr val="accent1"/>
                </a:solidFill>
              </a:defRPr>
            </a:lvl6pPr>
            <a:lvl7pPr marL="0" indent="0" algn="l">
              <a:buNone/>
              <a:defRPr sz="1800">
                <a:solidFill>
                  <a:schemeClr val="accent1"/>
                </a:solidFill>
              </a:defRPr>
            </a:lvl7pPr>
            <a:lvl8pPr marL="0" indent="0" algn="l">
              <a:buNone/>
              <a:defRPr sz="1800">
                <a:solidFill>
                  <a:schemeClr val="accent1"/>
                </a:solidFill>
              </a:defRPr>
            </a:lvl8pPr>
            <a:lvl9pPr marL="0" indent="0" algn="l">
              <a:buNone/>
              <a:defRPr sz="1800">
                <a:solidFill>
                  <a:schemeClr val="accent1"/>
                </a:solidFill>
              </a:defRPr>
            </a:lvl9pPr>
          </a:lstStyle>
          <a:p>
            <a:pPr lvl="0"/>
            <a:r>
              <a:rPr lang="de-DE"/>
              <a:t>Master-Untertitelformat bearbeiten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EEAD9179-7A6B-4268-BEB2-F3B8EB06115B}" type="slidenum">
              <a:rPr lang="en-US" smtClean="0"/>
              <a:t>‹Nr.›</a:t>
            </a:fld>
            <a:endParaRPr lang="en-US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4"/>
          </p:nvPr>
        </p:nvSpPr>
        <p:spPr bwMode="gray">
          <a:xfrm>
            <a:off x="531049" y="1732753"/>
            <a:ext cx="11193569" cy="4553749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F7F219C-959B-4E65-808A-E0F3157095E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2E7EEA2-1B99-4A35-8D12-1868D78F0B0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 anchor="b"/>
          <a:lstStyle>
            <a:lvl1pPr>
              <a:defRPr sz="1000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839747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3" name="Group 32">
            <a:extLst>
              <a:ext uri="{FF2B5EF4-FFF2-40B4-BE49-F238E27FC236}">
                <a16:creationId xmlns:a16="http://schemas.microsoft.com/office/drawing/2014/main" id="{3375C0B6-51F5-4644-852C-D4408F558C71}"/>
              </a:ext>
            </a:extLst>
          </p:cNvPr>
          <p:cNvGrpSpPr/>
          <p:nvPr userDrawn="1"/>
        </p:nvGrpSpPr>
        <p:grpSpPr>
          <a:xfrm>
            <a:off x="0" y="0"/>
            <a:ext cx="7812426" cy="6858000"/>
            <a:chOff x="29765" y="0"/>
            <a:chExt cx="7812426" cy="6858000"/>
          </a:xfrm>
        </p:grpSpPr>
        <p:sp>
          <p:nvSpPr>
            <p:cNvPr id="32" name="Parallelogram 31">
              <a:extLst>
                <a:ext uri="{FF2B5EF4-FFF2-40B4-BE49-F238E27FC236}">
                  <a16:creationId xmlns:a16="http://schemas.microsoft.com/office/drawing/2014/main" id="{26ECE3BE-FA01-FA44-8A4D-A422F5F6054A}"/>
                </a:ext>
              </a:extLst>
            </p:cNvPr>
            <p:cNvSpPr/>
            <p:nvPr userDrawn="1"/>
          </p:nvSpPr>
          <p:spPr>
            <a:xfrm>
              <a:off x="4387791" y="0"/>
              <a:ext cx="3454400" cy="6858000"/>
            </a:xfrm>
            <a:prstGeom prst="parallelogram">
              <a:avLst>
                <a:gd name="adj" fmla="val 89594"/>
              </a:avLst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4" name="Freeform 23">
              <a:extLst>
                <a:ext uri="{FF2B5EF4-FFF2-40B4-BE49-F238E27FC236}">
                  <a16:creationId xmlns:a16="http://schemas.microsoft.com/office/drawing/2014/main" id="{8D2A5B07-B3EF-B044-AC38-067826BFF065}"/>
                </a:ext>
              </a:extLst>
            </p:cNvPr>
            <p:cNvSpPr/>
            <p:nvPr userDrawn="1"/>
          </p:nvSpPr>
          <p:spPr>
            <a:xfrm>
              <a:off x="29765" y="0"/>
              <a:ext cx="7495273" cy="6858000"/>
            </a:xfrm>
            <a:custGeom>
              <a:avLst/>
              <a:gdLst>
                <a:gd name="connsiteX0" fmla="*/ 0 w 7495273"/>
                <a:gd name="connsiteY0" fmla="*/ 0 h 6858000"/>
                <a:gd name="connsiteX1" fmla="*/ 7495273 w 7495273"/>
                <a:gd name="connsiteY1" fmla="*/ 0 h 6858000"/>
                <a:gd name="connsiteX2" fmla="*/ 4400338 w 7495273"/>
                <a:gd name="connsiteY2" fmla="*/ 6858000 h 6858000"/>
                <a:gd name="connsiteX3" fmla="*/ 0 w 7495273"/>
                <a:gd name="connsiteY3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495273" h="6858000">
                  <a:moveTo>
                    <a:pt x="0" y="0"/>
                  </a:moveTo>
                  <a:lnTo>
                    <a:pt x="7495273" y="0"/>
                  </a:lnTo>
                  <a:lnTo>
                    <a:pt x="4400338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1F428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52BF1972-FC50-DE4D-AE22-907B3D2C4D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5300" y="1686292"/>
            <a:ext cx="4824123" cy="2852737"/>
          </a:xfrm>
        </p:spPr>
        <p:txBody>
          <a:bodyPr anchor="b">
            <a:normAutofit/>
          </a:bodyPr>
          <a:lstStyle>
            <a:lvl1pPr>
              <a:defRPr sz="3600" baseline="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A0DB6AB-7FF3-7B43-AE11-D083736F811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95300" y="4589463"/>
            <a:ext cx="4492820" cy="1500187"/>
          </a:xfrm>
        </p:spPr>
        <p:txBody>
          <a:bodyPr lIns="27432"/>
          <a:lstStyle>
            <a:lvl1pPr marL="0" indent="0">
              <a:buNone/>
              <a:defRPr sz="2000" baseline="0">
                <a:solidFill>
                  <a:schemeClr val="tx2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7364FE2-A2E9-EB40-B6D3-106D5067DFD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768215-1EA3-4546-AC03-C34B3AB5989B}" type="datetime1">
              <a:rPr lang="en-US" smtClean="0"/>
              <a:t>10/23/2025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E176550-E523-9544-97FD-F93FBD1E68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304907" y="6356350"/>
            <a:ext cx="3582186" cy="365125"/>
          </a:xfrm>
        </p:spPr>
        <p:txBody>
          <a:bodyPr/>
          <a:lstStyle>
            <a:lvl1pPr algn="ctr">
              <a:defRPr b="1" i="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FOR INTERNAL USE ONLY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80BA57B-D34A-7848-BBFC-D523E2CDD07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0AFECD8-B8AF-5C4E-B306-A0438013ED66}" type="slidenum">
              <a:rPr lang="en-US" smtClean="0"/>
              <a:t>‹Nr.›</a:t>
            </a:fld>
            <a:endParaRPr lang="en-US" dirty="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934AB8BD-99E5-6F4A-A7A6-C8FE77ADC60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8849829" y="4348904"/>
            <a:ext cx="3165108" cy="2149233"/>
          </a:xfrm>
          <a:prstGeom prst="rect">
            <a:avLst/>
          </a:prstGeom>
        </p:spPr>
      </p:pic>
      <p:grpSp>
        <p:nvGrpSpPr>
          <p:cNvPr id="17" name="Group 16">
            <a:extLst>
              <a:ext uri="{FF2B5EF4-FFF2-40B4-BE49-F238E27FC236}">
                <a16:creationId xmlns:a16="http://schemas.microsoft.com/office/drawing/2014/main" id="{FB3D1BB3-7A61-A64E-9A27-A2B35D34007A}"/>
              </a:ext>
            </a:extLst>
          </p:cNvPr>
          <p:cNvGrpSpPr/>
          <p:nvPr userDrawn="1"/>
        </p:nvGrpSpPr>
        <p:grpSpPr>
          <a:xfrm>
            <a:off x="10046824" y="231451"/>
            <a:ext cx="1930589" cy="549371"/>
            <a:chOff x="8736118" y="1637730"/>
            <a:chExt cx="2478142" cy="705184"/>
          </a:xfrm>
        </p:grpSpPr>
        <p:pic>
          <p:nvPicPr>
            <p:cNvPr id="18" name="Picture 17">
              <a:extLst>
                <a:ext uri="{FF2B5EF4-FFF2-40B4-BE49-F238E27FC236}">
                  <a16:creationId xmlns:a16="http://schemas.microsoft.com/office/drawing/2014/main" id="{874743B5-B2B5-1643-B456-A2991DAEBB1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/>
            <a:stretch>
              <a:fillRect/>
            </a:stretch>
          </p:blipFill>
          <p:spPr>
            <a:xfrm>
              <a:off x="10509076" y="1637730"/>
              <a:ext cx="705184" cy="705184"/>
            </a:xfrm>
            <a:prstGeom prst="rect">
              <a:avLst/>
            </a:prstGeom>
          </p:spPr>
        </p:pic>
        <p:pic>
          <p:nvPicPr>
            <p:cNvPr id="19" name="Picture 18">
              <a:extLst>
                <a:ext uri="{FF2B5EF4-FFF2-40B4-BE49-F238E27FC236}">
                  <a16:creationId xmlns:a16="http://schemas.microsoft.com/office/drawing/2014/main" id="{559C87F7-1065-B74C-ACFD-F14A65DB4B94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/>
            <a:stretch>
              <a:fillRect/>
            </a:stretch>
          </p:blipFill>
          <p:spPr>
            <a:xfrm>
              <a:off x="8736118" y="1728542"/>
              <a:ext cx="1397890" cy="55341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64929160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 2"/>
          <p:cNvSpPr>
            <a:spLocks noGrp="1"/>
          </p:cNvSpPr>
          <p:nvPr>
            <p:ph type="subTitle" idx="13"/>
          </p:nvPr>
        </p:nvSpPr>
        <p:spPr bwMode="gray">
          <a:xfrm>
            <a:off x="531049" y="1138299"/>
            <a:ext cx="10799188" cy="252000"/>
          </a:xfrm>
        </p:spPr>
        <p:txBody>
          <a:bodyPr anchor="t"/>
          <a:lstStyle>
            <a:lvl1pPr marL="0" indent="0" algn="l">
              <a:buNone/>
              <a:defRPr sz="1800">
                <a:solidFill>
                  <a:schemeClr val="accent1"/>
                </a:solidFill>
              </a:defRPr>
            </a:lvl1pPr>
            <a:lvl2pPr marL="0" indent="0" algn="l">
              <a:buNone/>
              <a:defRPr sz="1800">
                <a:solidFill>
                  <a:schemeClr val="accent1"/>
                </a:solidFill>
              </a:defRPr>
            </a:lvl2pPr>
            <a:lvl3pPr marL="0" indent="0" algn="l">
              <a:buNone/>
              <a:defRPr sz="1800">
                <a:solidFill>
                  <a:schemeClr val="accent1"/>
                </a:solidFill>
              </a:defRPr>
            </a:lvl3pPr>
            <a:lvl4pPr marL="0" indent="0" algn="l">
              <a:buNone/>
              <a:defRPr sz="1800">
                <a:solidFill>
                  <a:schemeClr val="accent1"/>
                </a:solidFill>
              </a:defRPr>
            </a:lvl4pPr>
            <a:lvl5pPr marL="0" indent="0" algn="l">
              <a:buNone/>
              <a:defRPr sz="1800">
                <a:solidFill>
                  <a:schemeClr val="accent1"/>
                </a:solidFill>
              </a:defRPr>
            </a:lvl5pPr>
            <a:lvl6pPr marL="0" indent="0" algn="l">
              <a:buNone/>
              <a:defRPr sz="1800">
                <a:solidFill>
                  <a:schemeClr val="accent1"/>
                </a:solidFill>
              </a:defRPr>
            </a:lvl6pPr>
            <a:lvl7pPr marL="0" indent="0" algn="l">
              <a:buNone/>
              <a:defRPr sz="1800">
                <a:solidFill>
                  <a:schemeClr val="accent1"/>
                </a:solidFill>
              </a:defRPr>
            </a:lvl7pPr>
            <a:lvl8pPr marL="0" indent="0" algn="l">
              <a:buNone/>
              <a:defRPr sz="1800">
                <a:solidFill>
                  <a:schemeClr val="accent1"/>
                </a:solidFill>
              </a:defRPr>
            </a:lvl8pPr>
            <a:lvl9pPr marL="0" indent="0" algn="l">
              <a:buNone/>
              <a:defRPr sz="1800">
                <a:solidFill>
                  <a:schemeClr val="accent1"/>
                </a:solidFill>
              </a:defRPr>
            </a:lvl9pPr>
          </a:lstStyle>
          <a:p>
            <a:pPr lvl="0"/>
            <a:r>
              <a:rPr lang="de-DE"/>
              <a:t>Master-Untertitelformat bearbeiten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EEAD9179-7A6B-4268-BEB2-F3B8EB06115B}" type="slidenum">
              <a:rPr lang="en-US" smtClean="0"/>
              <a:t>‹Nr.›</a:t>
            </a:fld>
            <a:endParaRPr lang="en-US"/>
          </a:p>
        </p:txBody>
      </p:sp>
      <p:sp>
        <p:nvSpPr>
          <p:cNvPr id="11" name="Text Placeholder 10 (left)"/>
          <p:cNvSpPr>
            <a:spLocks noGrp="1"/>
          </p:cNvSpPr>
          <p:nvPr>
            <p:ph type="body" sz="quarter" idx="14"/>
          </p:nvPr>
        </p:nvSpPr>
        <p:spPr bwMode="gray">
          <a:xfrm>
            <a:off x="531049" y="1732750"/>
            <a:ext cx="5220680" cy="4752001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12" name="Text Placeholder 10 (right)"/>
          <p:cNvSpPr>
            <a:spLocks noGrp="1"/>
          </p:cNvSpPr>
          <p:nvPr>
            <p:ph type="body" sz="quarter" idx="15"/>
          </p:nvPr>
        </p:nvSpPr>
        <p:spPr bwMode="gray">
          <a:xfrm>
            <a:off x="6194649" y="1732750"/>
            <a:ext cx="5220680" cy="4752001"/>
          </a:xfrm>
        </p:spPr>
        <p:txBody>
          <a:bodyPr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A5EB31E1-976E-4835-9275-D815FFEBA0E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AC3F6E3-995F-4A21-BA25-15B00F0F6D51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521062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(2) &amp; Images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 2"/>
          <p:cNvSpPr>
            <a:spLocks noGrp="1"/>
          </p:cNvSpPr>
          <p:nvPr>
            <p:ph type="subTitle" idx="13"/>
          </p:nvPr>
        </p:nvSpPr>
        <p:spPr bwMode="gray">
          <a:xfrm>
            <a:off x="531051" y="1138299"/>
            <a:ext cx="10800843" cy="252000"/>
          </a:xfrm>
        </p:spPr>
        <p:txBody>
          <a:bodyPr anchor="t"/>
          <a:lstStyle>
            <a:lvl1pPr marL="0" indent="0" algn="l">
              <a:buNone/>
              <a:defRPr sz="1800">
                <a:solidFill>
                  <a:schemeClr val="accent1"/>
                </a:solidFill>
              </a:defRPr>
            </a:lvl1pPr>
            <a:lvl2pPr marL="0" indent="0" algn="l">
              <a:buNone/>
              <a:defRPr sz="1800">
                <a:solidFill>
                  <a:schemeClr val="accent1"/>
                </a:solidFill>
              </a:defRPr>
            </a:lvl2pPr>
            <a:lvl3pPr marL="0" indent="0" algn="l">
              <a:buNone/>
              <a:defRPr sz="1800">
                <a:solidFill>
                  <a:schemeClr val="accent1"/>
                </a:solidFill>
              </a:defRPr>
            </a:lvl3pPr>
            <a:lvl4pPr marL="0" indent="0" algn="l">
              <a:buNone/>
              <a:defRPr sz="1800">
                <a:solidFill>
                  <a:schemeClr val="accent1"/>
                </a:solidFill>
              </a:defRPr>
            </a:lvl4pPr>
            <a:lvl5pPr marL="0" indent="0" algn="l">
              <a:buNone/>
              <a:defRPr sz="1800">
                <a:solidFill>
                  <a:schemeClr val="accent1"/>
                </a:solidFill>
              </a:defRPr>
            </a:lvl5pPr>
            <a:lvl6pPr marL="0" indent="0" algn="l">
              <a:buNone/>
              <a:defRPr sz="1800">
                <a:solidFill>
                  <a:schemeClr val="accent1"/>
                </a:solidFill>
              </a:defRPr>
            </a:lvl6pPr>
            <a:lvl7pPr marL="0" indent="0" algn="l">
              <a:buNone/>
              <a:defRPr sz="1800">
                <a:solidFill>
                  <a:schemeClr val="accent1"/>
                </a:solidFill>
              </a:defRPr>
            </a:lvl7pPr>
            <a:lvl8pPr marL="0" indent="0" algn="l">
              <a:buNone/>
              <a:defRPr sz="1800">
                <a:solidFill>
                  <a:schemeClr val="accent1"/>
                </a:solidFill>
              </a:defRPr>
            </a:lvl8pPr>
            <a:lvl9pPr marL="0" indent="0" algn="l">
              <a:buNone/>
              <a:defRPr sz="1800">
                <a:solidFill>
                  <a:schemeClr val="accent1"/>
                </a:solidFill>
              </a:defRPr>
            </a:lvl9pPr>
          </a:lstStyle>
          <a:p>
            <a:pPr lvl="0"/>
            <a:r>
              <a:rPr lang="de-DE"/>
              <a:t>Master-Untertitelformat bearbeiten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EEAD9179-7A6B-4268-BEB2-F3B8EB06115B}" type="slidenum">
              <a:rPr lang="en-US" smtClean="0"/>
              <a:t>‹Nr.›</a:t>
            </a:fld>
            <a:endParaRPr lang="en-US"/>
          </a:p>
        </p:txBody>
      </p:sp>
      <p:sp>
        <p:nvSpPr>
          <p:cNvPr id="11" name="Text Placeholder 10 (left)"/>
          <p:cNvSpPr>
            <a:spLocks noGrp="1"/>
          </p:cNvSpPr>
          <p:nvPr>
            <p:ph type="body" sz="quarter" idx="14"/>
          </p:nvPr>
        </p:nvSpPr>
        <p:spPr bwMode="gray">
          <a:xfrm>
            <a:off x="531049" y="3892752"/>
            <a:ext cx="5220680" cy="2592001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12" name="Text Placeholder 10 (right)"/>
          <p:cNvSpPr>
            <a:spLocks noGrp="1"/>
          </p:cNvSpPr>
          <p:nvPr>
            <p:ph type="body" sz="quarter" idx="15"/>
          </p:nvPr>
        </p:nvSpPr>
        <p:spPr bwMode="gray">
          <a:xfrm>
            <a:off x="6011861" y="3892752"/>
            <a:ext cx="5220680" cy="2592001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15" name="Picture Placeholder 14 (left)"/>
          <p:cNvSpPr>
            <a:spLocks noGrp="1"/>
          </p:cNvSpPr>
          <p:nvPr>
            <p:ph type="pic" sz="quarter" idx="16"/>
          </p:nvPr>
        </p:nvSpPr>
        <p:spPr bwMode="gray">
          <a:xfrm>
            <a:off x="531049" y="1732750"/>
            <a:ext cx="5220680" cy="1800000"/>
          </a:xfrm>
        </p:spPr>
        <p:txBody>
          <a:bodyPr tIns="540000" anchor="ctr"/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16" name="Picture Placeholder 14 (right)"/>
          <p:cNvSpPr>
            <a:spLocks noGrp="1"/>
          </p:cNvSpPr>
          <p:nvPr>
            <p:ph type="pic" sz="quarter" idx="17"/>
          </p:nvPr>
        </p:nvSpPr>
        <p:spPr bwMode="gray">
          <a:xfrm>
            <a:off x="6011861" y="1732750"/>
            <a:ext cx="5220680" cy="1800000"/>
          </a:xfrm>
        </p:spPr>
        <p:txBody>
          <a:bodyPr tIns="540000" anchor="ctr"/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749AB890-57F5-4495-9B80-E68FC0BA05F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63AFDC-348D-4BBC-B20E-07166AC9058B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41959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(colo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 2"/>
          <p:cNvSpPr>
            <a:spLocks noGrp="1"/>
          </p:cNvSpPr>
          <p:nvPr>
            <p:ph type="subTitle" idx="13"/>
          </p:nvPr>
        </p:nvSpPr>
        <p:spPr bwMode="gray">
          <a:xfrm>
            <a:off x="531049" y="1138299"/>
            <a:ext cx="10799866" cy="252000"/>
          </a:xfrm>
        </p:spPr>
        <p:txBody>
          <a:bodyPr anchor="t"/>
          <a:lstStyle>
            <a:lvl1pPr marL="0" indent="0" algn="l">
              <a:buNone/>
              <a:defRPr sz="1800">
                <a:solidFill>
                  <a:schemeClr val="accent1"/>
                </a:solidFill>
              </a:defRPr>
            </a:lvl1pPr>
            <a:lvl2pPr marL="0" indent="0" algn="l">
              <a:buNone/>
              <a:defRPr sz="1800">
                <a:solidFill>
                  <a:schemeClr val="accent1"/>
                </a:solidFill>
              </a:defRPr>
            </a:lvl2pPr>
            <a:lvl3pPr marL="0" indent="0" algn="l">
              <a:buNone/>
              <a:defRPr sz="1800">
                <a:solidFill>
                  <a:schemeClr val="accent1"/>
                </a:solidFill>
              </a:defRPr>
            </a:lvl3pPr>
            <a:lvl4pPr marL="0" indent="0" algn="l">
              <a:buNone/>
              <a:defRPr sz="1800">
                <a:solidFill>
                  <a:schemeClr val="accent1"/>
                </a:solidFill>
              </a:defRPr>
            </a:lvl4pPr>
            <a:lvl5pPr marL="0" indent="0" algn="l">
              <a:buNone/>
              <a:defRPr sz="1800">
                <a:solidFill>
                  <a:schemeClr val="accent1"/>
                </a:solidFill>
              </a:defRPr>
            </a:lvl5pPr>
            <a:lvl6pPr marL="0" indent="0" algn="l">
              <a:buNone/>
              <a:defRPr sz="1800">
                <a:solidFill>
                  <a:schemeClr val="accent1"/>
                </a:solidFill>
              </a:defRPr>
            </a:lvl6pPr>
            <a:lvl7pPr marL="0" indent="0" algn="l">
              <a:buNone/>
              <a:defRPr sz="1800">
                <a:solidFill>
                  <a:schemeClr val="accent1"/>
                </a:solidFill>
              </a:defRPr>
            </a:lvl7pPr>
            <a:lvl8pPr marL="0" indent="0" algn="l">
              <a:buNone/>
              <a:defRPr sz="1800">
                <a:solidFill>
                  <a:schemeClr val="accent1"/>
                </a:solidFill>
              </a:defRPr>
            </a:lvl8pPr>
            <a:lvl9pPr marL="0" indent="0" algn="l">
              <a:buNone/>
              <a:defRPr sz="1800">
                <a:solidFill>
                  <a:schemeClr val="accent1"/>
                </a:solidFill>
              </a:defRPr>
            </a:lvl9pPr>
          </a:lstStyle>
          <a:p>
            <a:pPr lvl="0"/>
            <a:r>
              <a:rPr lang="de-DE"/>
              <a:t>Master-Untertitelformat bearbeiten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EEAD9179-7A6B-4268-BEB2-F3B8EB06115B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25E8203-1FB3-486B-83D7-3614934F18E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A2A5A31-514C-4E11-BB0E-A0DF45B8D063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067656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(color/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 2"/>
          <p:cNvSpPr>
            <a:spLocks noGrp="1"/>
          </p:cNvSpPr>
          <p:nvPr>
            <p:ph type="subTitle" idx="13"/>
          </p:nvPr>
        </p:nvSpPr>
        <p:spPr bwMode="invGray">
          <a:xfrm>
            <a:off x="981949" y="1138299"/>
            <a:ext cx="10799866" cy="252000"/>
          </a:xfrm>
        </p:spPr>
        <p:txBody>
          <a:bodyPr anchor="t"/>
          <a:lstStyle>
            <a:lvl1pPr marL="0" indent="0" algn="l">
              <a:buNone/>
              <a:defRPr sz="1800">
                <a:solidFill>
                  <a:schemeClr val="bg1"/>
                </a:solidFill>
              </a:defRPr>
            </a:lvl1pPr>
            <a:lvl2pPr marL="0" indent="0" algn="l">
              <a:buNone/>
              <a:defRPr sz="1800">
                <a:solidFill>
                  <a:schemeClr val="bg1"/>
                </a:solidFill>
              </a:defRPr>
            </a:lvl2pPr>
            <a:lvl3pPr marL="0" indent="0" algn="l">
              <a:buNone/>
              <a:defRPr sz="1800">
                <a:solidFill>
                  <a:schemeClr val="bg1"/>
                </a:solidFill>
              </a:defRPr>
            </a:lvl3pPr>
            <a:lvl4pPr marL="0" indent="0" algn="l">
              <a:buNone/>
              <a:defRPr sz="1800">
                <a:solidFill>
                  <a:schemeClr val="bg1"/>
                </a:solidFill>
              </a:defRPr>
            </a:lvl4pPr>
            <a:lvl5pPr marL="0" indent="0" algn="l">
              <a:buNone/>
              <a:defRPr sz="1800">
                <a:solidFill>
                  <a:schemeClr val="bg1"/>
                </a:solidFill>
              </a:defRPr>
            </a:lvl5pPr>
            <a:lvl6pPr marL="0" indent="0" algn="l">
              <a:buNone/>
              <a:defRPr sz="1800">
                <a:solidFill>
                  <a:schemeClr val="bg1"/>
                </a:solidFill>
              </a:defRPr>
            </a:lvl6pPr>
            <a:lvl7pPr marL="0" indent="0" algn="l">
              <a:buNone/>
              <a:defRPr sz="1800">
                <a:solidFill>
                  <a:schemeClr val="bg1"/>
                </a:solidFill>
              </a:defRPr>
            </a:lvl7pPr>
            <a:lvl8pPr marL="0" indent="0" algn="l">
              <a:buNone/>
              <a:defRPr sz="1800">
                <a:solidFill>
                  <a:schemeClr val="bg1"/>
                </a:solidFill>
              </a:defRPr>
            </a:lvl8pPr>
            <a:lvl9pPr marL="0" indent="0" algn="l">
              <a:buNone/>
              <a:defRPr sz="18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Master-Untertitelformat bearbeiten</a:t>
            </a:r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inv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inv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fld id="{EEAD9179-7A6B-4268-BEB2-F3B8EB06115B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21A28AA-C9B9-4C7F-BF43-A144614F50AA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972934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 2"/>
          <p:cNvSpPr>
            <a:spLocks noGrp="1"/>
          </p:cNvSpPr>
          <p:nvPr>
            <p:ph type="subTitle" idx="13"/>
          </p:nvPr>
        </p:nvSpPr>
        <p:spPr bwMode="invGray">
          <a:xfrm>
            <a:off x="981949" y="1138299"/>
            <a:ext cx="10799866" cy="252000"/>
          </a:xfrm>
        </p:spPr>
        <p:txBody>
          <a:bodyPr anchor="t"/>
          <a:lstStyle>
            <a:lvl1pPr marL="0" indent="0" algn="l">
              <a:buNone/>
              <a:defRPr sz="1800">
                <a:solidFill>
                  <a:schemeClr val="bg1"/>
                </a:solidFill>
              </a:defRPr>
            </a:lvl1pPr>
            <a:lvl2pPr marL="0" indent="0" algn="l">
              <a:buNone/>
              <a:defRPr sz="1800">
                <a:solidFill>
                  <a:schemeClr val="bg1"/>
                </a:solidFill>
              </a:defRPr>
            </a:lvl2pPr>
            <a:lvl3pPr marL="0" indent="0" algn="l">
              <a:buNone/>
              <a:defRPr sz="1800">
                <a:solidFill>
                  <a:schemeClr val="bg1"/>
                </a:solidFill>
              </a:defRPr>
            </a:lvl3pPr>
            <a:lvl4pPr marL="0" indent="0" algn="l">
              <a:buNone/>
              <a:defRPr sz="1800">
                <a:solidFill>
                  <a:schemeClr val="bg1"/>
                </a:solidFill>
              </a:defRPr>
            </a:lvl4pPr>
            <a:lvl5pPr marL="0" indent="0" algn="l">
              <a:buNone/>
              <a:defRPr sz="1800">
                <a:solidFill>
                  <a:schemeClr val="bg1"/>
                </a:solidFill>
              </a:defRPr>
            </a:lvl5pPr>
            <a:lvl6pPr marL="0" indent="0" algn="l">
              <a:buNone/>
              <a:defRPr sz="1800">
                <a:solidFill>
                  <a:schemeClr val="bg1"/>
                </a:solidFill>
              </a:defRPr>
            </a:lvl6pPr>
            <a:lvl7pPr marL="0" indent="0" algn="l">
              <a:buNone/>
              <a:defRPr sz="1800">
                <a:solidFill>
                  <a:schemeClr val="bg1"/>
                </a:solidFill>
              </a:defRPr>
            </a:lvl7pPr>
            <a:lvl8pPr marL="0" indent="0" algn="l">
              <a:buNone/>
              <a:defRPr sz="1800">
                <a:solidFill>
                  <a:schemeClr val="bg1"/>
                </a:solidFill>
              </a:defRPr>
            </a:lvl8pPr>
            <a:lvl9pPr marL="0" indent="0" algn="l">
              <a:buNone/>
              <a:defRPr sz="18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Master-Untertitelformat bearbeiten</a:t>
            </a:r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inv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inv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fld id="{EEAD9179-7A6B-4268-BEB2-F3B8EB06115B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1447847-CC8A-4D3B-BC3C-75D1E792204C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801265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EEAD9179-7A6B-4268-BEB2-F3B8EB06115B}" type="slidenum">
              <a:rPr lang="en-US" smtClean="0"/>
              <a:pPr/>
              <a:t>‹Nr.›</a:t>
            </a:fld>
            <a:endParaRPr lang="en-US"/>
          </a:p>
        </p:txBody>
      </p:sp>
      <p:sp useBgFill="1">
        <p:nvSpPr>
          <p:cNvPr id="6" name="Picture Placeholder 14"/>
          <p:cNvSpPr>
            <a:spLocks noGrp="1"/>
          </p:cNvSpPr>
          <p:nvPr>
            <p:ph type="pic" sz="quarter" idx="16"/>
          </p:nvPr>
        </p:nvSpPr>
        <p:spPr bwMode="gray">
          <a:xfrm>
            <a:off x="2" y="0"/>
            <a:ext cx="12192000" cy="6858000"/>
          </a:xfrm>
        </p:spPr>
        <p:txBody>
          <a:bodyPr tIns="540000" anchor="ctr"/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713642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08000" y="1457960"/>
            <a:ext cx="11074400" cy="4663440"/>
          </a:xfrm>
          <a:prstGeom prst="rect">
            <a:avLst/>
          </a:prstGeom>
        </p:spPr>
        <p:txBody>
          <a:bodyPr/>
          <a:lstStyle>
            <a:lvl1pPr>
              <a:defRPr sz="1867"/>
            </a:lvl1pPr>
            <a:lvl5pPr marL="1218926" indent="-228548"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11">
            <a:extLst>
              <a:ext uri="{FF2B5EF4-FFF2-40B4-BE49-F238E27FC236}">
                <a16:creationId xmlns:a16="http://schemas.microsoft.com/office/drawing/2014/main" id="{E075740C-AC93-44FF-B231-DAC8F765CC8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08002" y="6121399"/>
            <a:ext cx="8971403" cy="375196"/>
          </a:xfrm>
          <a:noFill/>
        </p:spPr>
        <p:txBody>
          <a:bodyPr wrap="square" lIns="0" tIns="0" bIns="0" rtlCol="0" anchor="b">
            <a:noAutofit/>
          </a:bodyPr>
          <a:lstStyle>
            <a:lvl1pPr marL="0" indent="0">
              <a:spcBef>
                <a:spcPts val="100"/>
              </a:spcBef>
              <a:buFontTx/>
              <a:buNone/>
              <a:defRPr lang="en-US" sz="933" dirty="0">
                <a:solidFill>
                  <a:schemeClr val="bg1"/>
                </a:solidFill>
              </a:defRPr>
            </a:lvl1pPr>
          </a:lstStyle>
          <a:p>
            <a:pPr lvl="0" fontAlgn="base">
              <a:spcBef>
                <a:spcPct val="0"/>
              </a:spcBef>
              <a:spcAft>
                <a:spcPct val="0"/>
              </a:spcAft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42470381"/>
      </p:ext>
    </p:extLst>
  </p:cSld>
  <p:clrMapOvr>
    <a:masterClrMapping/>
  </p:clrMapOvr>
  <p:hf sldNum="0" hdr="0" ftr="0" dt="0"/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ext no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588248" y="181939"/>
            <a:ext cx="11193569" cy="864000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/>
            </a:lvl1pPr>
          </a:lstStyle>
          <a:p>
            <a:fld id="{EEAD9179-7A6B-4268-BEB2-F3B8EB06115B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BBE46D8-10AA-4E6D-87AE-0429D1FE31A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88246" y="6356354"/>
            <a:ext cx="11193569" cy="261583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4" name="Content Placeholder 13">
            <a:extLst>
              <a:ext uri="{FF2B5EF4-FFF2-40B4-BE49-F238E27FC236}">
                <a16:creationId xmlns:a16="http://schemas.microsoft.com/office/drawing/2014/main" id="{A8BD85A7-5F22-431C-8DD6-76F91EFC0361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88245" y="1295406"/>
            <a:ext cx="11193571" cy="4991099"/>
          </a:xfrm>
        </p:spPr>
        <p:txBody>
          <a:bodyPr/>
          <a:lstStyle>
            <a:lvl1pPr marL="539892" indent="-269946">
              <a:defRPr/>
            </a:lvl1pPr>
            <a:lvl2pPr marL="380924" indent="-380924">
              <a:defRPr lang="en-US" sz="18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0816" indent="-380924">
              <a:buNone/>
              <a:defRPr lang="en-US" sz="18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79784" indent="-269946">
              <a:defRPr lang="en-US" sz="18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79784" indent="-269946">
              <a:defRPr lang="en-US" sz="18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marL="269946" lvl="0" indent="-269946" algn="l" defTabSz="914218" rtl="0" eaLnBrk="1" latinLnBrk="0" hangingPunct="1">
              <a:spcBef>
                <a:spcPts val="30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•"/>
            </a:pPr>
            <a:r>
              <a:rPr lang="de-DE"/>
              <a:t>Mastertextformat bearbeiten</a:t>
            </a:r>
          </a:p>
          <a:p>
            <a:pPr marL="269946" lvl="1" indent="-269946" algn="l" defTabSz="914218" rtl="0" eaLnBrk="1" latinLnBrk="0" hangingPunct="1">
              <a:spcBef>
                <a:spcPts val="30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•"/>
            </a:pPr>
            <a:r>
              <a:rPr lang="de-DE"/>
              <a:t>Zweite Ebene</a:t>
            </a:r>
          </a:p>
          <a:p>
            <a:pPr marL="269946" lvl="2" indent="-269946" algn="l" defTabSz="914218" rtl="0" eaLnBrk="1" latinLnBrk="0" hangingPunct="1">
              <a:spcBef>
                <a:spcPts val="30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•"/>
            </a:pPr>
            <a:r>
              <a:rPr lang="de-DE"/>
              <a:t>Dritte Ebene</a:t>
            </a:r>
          </a:p>
          <a:p>
            <a:pPr marL="269946" lvl="3" indent="-269946" algn="l" defTabSz="914218" rtl="0" eaLnBrk="1" latinLnBrk="0" hangingPunct="1">
              <a:spcBef>
                <a:spcPts val="30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•"/>
            </a:pPr>
            <a:r>
              <a:rPr lang="de-DE"/>
              <a:t>Vierte Ebene</a:t>
            </a:r>
          </a:p>
          <a:p>
            <a:pPr marL="269946" lvl="4" indent="-269946" algn="l" defTabSz="914218" rtl="0" eaLnBrk="1" latinLnBrk="0" hangingPunct="1">
              <a:spcBef>
                <a:spcPts val="30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•"/>
            </a:pPr>
            <a:r>
              <a:rPr lang="de-DE"/>
              <a:t>Fünfte Eben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565659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No 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9151BB9-B5A7-4A4E-BCC8-1B2D01A08C8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51F139DE-402E-4979-B6F1-51154AC2A2F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Click to add footer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69557831"/>
      </p:ext>
    </p:extLst>
  </p:cSld>
  <p:clrMapOvr>
    <a:masterClrMapping/>
  </p:clrMapOvr>
  <p:hf sldNum="0" hdr="0" ftr="0" dt="0"/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34882152"/>
      </p:ext>
    </p:extLst>
  </p:cSld>
  <p:clrMapOvr>
    <a:masterClrMapping/>
  </p:clrMapOvr>
  <p:transition spd="slow">
    <p:wipe dir="r"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2" name="Group 31">
            <a:extLst>
              <a:ext uri="{FF2B5EF4-FFF2-40B4-BE49-F238E27FC236}">
                <a16:creationId xmlns:a16="http://schemas.microsoft.com/office/drawing/2014/main" id="{CC20A954-010F-AA49-9AFF-0BA2B966F0F2}"/>
              </a:ext>
            </a:extLst>
          </p:cNvPr>
          <p:cNvGrpSpPr/>
          <p:nvPr userDrawn="1"/>
        </p:nvGrpSpPr>
        <p:grpSpPr>
          <a:xfrm>
            <a:off x="0" y="0"/>
            <a:ext cx="10113069" cy="6858000"/>
            <a:chOff x="20548" y="0"/>
            <a:chExt cx="10113069" cy="6858000"/>
          </a:xfrm>
        </p:grpSpPr>
        <p:sp>
          <p:nvSpPr>
            <p:cNvPr id="33" name="Parallelogram 32">
              <a:extLst>
                <a:ext uri="{FF2B5EF4-FFF2-40B4-BE49-F238E27FC236}">
                  <a16:creationId xmlns:a16="http://schemas.microsoft.com/office/drawing/2014/main" id="{94B7C9F0-E087-8549-B68F-C4C8FCB7540D}"/>
                </a:ext>
              </a:extLst>
            </p:cNvPr>
            <p:cNvSpPr/>
            <p:nvPr userDrawn="1"/>
          </p:nvSpPr>
          <p:spPr>
            <a:xfrm>
              <a:off x="6679217" y="0"/>
              <a:ext cx="3454400" cy="6858000"/>
            </a:xfrm>
            <a:prstGeom prst="parallelogram">
              <a:avLst>
                <a:gd name="adj" fmla="val 89594"/>
              </a:avLst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4" name="Freeform 33">
              <a:extLst>
                <a:ext uri="{FF2B5EF4-FFF2-40B4-BE49-F238E27FC236}">
                  <a16:creationId xmlns:a16="http://schemas.microsoft.com/office/drawing/2014/main" id="{D948ECA4-FA5A-DC41-BEAC-1A2554ADD123}"/>
                </a:ext>
              </a:extLst>
            </p:cNvPr>
            <p:cNvSpPr/>
            <p:nvPr userDrawn="1"/>
          </p:nvSpPr>
          <p:spPr>
            <a:xfrm>
              <a:off x="20548" y="0"/>
              <a:ext cx="9774153" cy="6858000"/>
            </a:xfrm>
            <a:custGeom>
              <a:avLst/>
              <a:gdLst>
                <a:gd name="connsiteX0" fmla="*/ 0 w 9774153"/>
                <a:gd name="connsiteY0" fmla="*/ 0 h 6858000"/>
                <a:gd name="connsiteX1" fmla="*/ 175545 w 9774153"/>
                <a:gd name="connsiteY1" fmla="*/ 0 h 6858000"/>
                <a:gd name="connsiteX2" fmla="*/ 9598608 w 9774153"/>
                <a:gd name="connsiteY2" fmla="*/ 0 h 6858000"/>
                <a:gd name="connsiteX3" fmla="*/ 9774153 w 9774153"/>
                <a:gd name="connsiteY3" fmla="*/ 0 h 6858000"/>
                <a:gd name="connsiteX4" fmla="*/ 6679218 w 9774153"/>
                <a:gd name="connsiteY4" fmla="*/ 6858000 h 6858000"/>
                <a:gd name="connsiteX5" fmla="*/ 6503673 w 9774153"/>
                <a:gd name="connsiteY5" fmla="*/ 6858000 h 6858000"/>
                <a:gd name="connsiteX6" fmla="*/ 175545 w 9774153"/>
                <a:gd name="connsiteY6" fmla="*/ 6858000 h 6858000"/>
                <a:gd name="connsiteX7" fmla="*/ 0 w 9774153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774153" h="6858000">
                  <a:moveTo>
                    <a:pt x="0" y="0"/>
                  </a:moveTo>
                  <a:lnTo>
                    <a:pt x="175545" y="0"/>
                  </a:lnTo>
                  <a:lnTo>
                    <a:pt x="9598608" y="0"/>
                  </a:lnTo>
                  <a:lnTo>
                    <a:pt x="9774153" y="0"/>
                  </a:lnTo>
                  <a:lnTo>
                    <a:pt x="6679218" y="6858000"/>
                  </a:lnTo>
                  <a:lnTo>
                    <a:pt x="6503673" y="6858000"/>
                  </a:lnTo>
                  <a:lnTo>
                    <a:pt x="175545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1F428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9" name="Rectangle 8">
            <a:extLst>
              <a:ext uri="{FF2B5EF4-FFF2-40B4-BE49-F238E27FC236}">
                <a16:creationId xmlns:a16="http://schemas.microsoft.com/office/drawing/2014/main" id="{9075ABD7-AC88-324D-81AC-6B45DDBB44C6}"/>
              </a:ext>
            </a:extLst>
          </p:cNvPr>
          <p:cNvSpPr/>
          <p:nvPr userDrawn="1"/>
        </p:nvSpPr>
        <p:spPr>
          <a:xfrm>
            <a:off x="0" y="1380221"/>
            <a:ext cx="12192000" cy="421035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2BF1972-FC50-DE4D-AE22-907B3D2C4D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5300" y="138845"/>
            <a:ext cx="8930053" cy="2852737"/>
          </a:xfrm>
        </p:spPr>
        <p:txBody>
          <a:bodyPr anchor="b">
            <a:normAutofit/>
          </a:bodyPr>
          <a:lstStyle>
            <a:lvl1pPr>
              <a:defRPr sz="3600" b="1" i="0" u="none" cap="none" baseline="0">
                <a:solidFill>
                  <a:schemeClr val="tx1"/>
                </a:solidFill>
                <a:uFill>
                  <a:solidFill>
                    <a:schemeClr val="accent1"/>
                  </a:solidFill>
                </a:u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A0DB6AB-7FF3-7B43-AE11-D083736F811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95300" y="3227802"/>
            <a:ext cx="3994639" cy="1500187"/>
          </a:xfrm>
        </p:spPr>
        <p:txBody>
          <a:bodyPr lIns="27432">
            <a:normAutofit/>
          </a:bodyPr>
          <a:lstStyle>
            <a:lvl1pPr marL="0" indent="0">
              <a:buNone/>
              <a:defRPr sz="2000" baseline="0">
                <a:solidFill>
                  <a:schemeClr val="tx2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7364FE2-A2E9-EB40-B6D3-106D5067DFD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CE513E5-06CF-744A-8DB1-7690EAF8A581}" type="datetime1">
              <a:rPr lang="en-US" smtClean="0"/>
              <a:t>10/23/2025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E176550-E523-9544-97FD-F93FBD1E68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3519668" cy="365125"/>
          </a:xfrm>
        </p:spPr>
        <p:txBody>
          <a:bodyPr/>
          <a:lstStyle>
            <a:lvl1pPr>
              <a:defRPr b="1" i="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FOR INTERNAL USE ONLY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80BA57B-D34A-7848-BBFC-D523E2CDD07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0AFECD8-B8AF-5C4E-B306-A0438013ED66}" type="slidenum">
              <a:rPr lang="en-US" smtClean="0"/>
              <a:t>‹Nr.›</a:t>
            </a:fld>
            <a:endParaRPr lang="en-US" dirty="0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5AC43809-A055-B74A-A1F8-7E7FC690F185}"/>
              </a:ext>
            </a:extLst>
          </p:cNvPr>
          <p:cNvCxnSpPr>
            <a:cxnSpLocks/>
          </p:cNvCxnSpPr>
          <p:nvPr userDrawn="1"/>
        </p:nvCxnSpPr>
        <p:spPr>
          <a:xfrm>
            <a:off x="485193" y="3032449"/>
            <a:ext cx="5999828" cy="0"/>
          </a:xfrm>
          <a:prstGeom prst="line">
            <a:avLst/>
          </a:prstGeom>
          <a:ln w="254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10">
            <a:extLst>
              <a:ext uri="{FF2B5EF4-FFF2-40B4-BE49-F238E27FC236}">
                <a16:creationId xmlns:a16="http://schemas.microsoft.com/office/drawing/2014/main" id="{E9B8BD7F-7022-664C-BF5F-505F31CB560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9341354" y="3753853"/>
            <a:ext cx="2540300" cy="1724964"/>
          </a:xfrm>
          <a:prstGeom prst="rect">
            <a:avLst/>
          </a:prstGeom>
        </p:spPr>
      </p:pic>
      <p:grpSp>
        <p:nvGrpSpPr>
          <p:cNvPr id="29" name="Group 28">
            <a:extLst>
              <a:ext uri="{FF2B5EF4-FFF2-40B4-BE49-F238E27FC236}">
                <a16:creationId xmlns:a16="http://schemas.microsoft.com/office/drawing/2014/main" id="{34313769-8D7C-6C4D-AF51-33D8D191E790}"/>
              </a:ext>
            </a:extLst>
          </p:cNvPr>
          <p:cNvGrpSpPr/>
          <p:nvPr userDrawn="1"/>
        </p:nvGrpSpPr>
        <p:grpSpPr>
          <a:xfrm>
            <a:off x="10046824" y="231451"/>
            <a:ext cx="1930589" cy="549371"/>
            <a:chOff x="8736118" y="1637730"/>
            <a:chExt cx="2478142" cy="705184"/>
          </a:xfrm>
        </p:grpSpPr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740C6905-2338-444D-A9F3-8B745C46B31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/>
            <a:stretch>
              <a:fillRect/>
            </a:stretch>
          </p:blipFill>
          <p:spPr>
            <a:xfrm>
              <a:off x="10509076" y="1637730"/>
              <a:ext cx="705184" cy="705184"/>
            </a:xfrm>
            <a:prstGeom prst="rect">
              <a:avLst/>
            </a:prstGeom>
          </p:spPr>
        </p:pic>
        <p:pic>
          <p:nvPicPr>
            <p:cNvPr id="31" name="Picture 30">
              <a:extLst>
                <a:ext uri="{FF2B5EF4-FFF2-40B4-BE49-F238E27FC236}">
                  <a16:creationId xmlns:a16="http://schemas.microsoft.com/office/drawing/2014/main" id="{F658469E-98E2-7143-BD5B-A35784490C6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/>
            <a:stretch>
              <a:fillRect/>
            </a:stretch>
          </p:blipFill>
          <p:spPr>
            <a:xfrm>
              <a:off x="8736118" y="1728542"/>
              <a:ext cx="1397890" cy="55341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124252744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hapter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black">
          <a:xfrm>
            <a:off x="6679256" y="2989335"/>
            <a:ext cx="4500586" cy="1440753"/>
          </a:xfrm>
        </p:spPr>
        <p:txBody>
          <a:bodyPr anchor="t"/>
          <a:lstStyle>
            <a:lvl1pPr algn="l">
              <a:defRPr sz="4800" i="1"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fld id="{EEAD9179-7A6B-4268-BEB2-F3B8EB06115B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26" name="Subtitle 2"/>
          <p:cNvSpPr>
            <a:spLocks noGrp="1"/>
          </p:cNvSpPr>
          <p:nvPr>
            <p:ph type="subTitle" idx="1"/>
          </p:nvPr>
        </p:nvSpPr>
        <p:spPr bwMode="black">
          <a:xfrm>
            <a:off x="1902438" y="2134650"/>
            <a:ext cx="4500586" cy="720000"/>
          </a:xfrm>
        </p:spPr>
        <p:txBody>
          <a:bodyPr anchor="b"/>
          <a:lstStyle>
            <a:lvl1pPr marL="0" indent="0" algn="r">
              <a:buNone/>
              <a:defRPr sz="2400" b="1">
                <a:solidFill>
                  <a:schemeClr val="accent1"/>
                </a:solidFill>
              </a:defRPr>
            </a:lvl1pPr>
            <a:lvl2pPr marL="0" indent="0" algn="l">
              <a:buNone/>
              <a:defRPr sz="2400" b="1">
                <a:solidFill>
                  <a:schemeClr val="accent1"/>
                </a:solidFill>
              </a:defRPr>
            </a:lvl2pPr>
            <a:lvl3pPr marL="0" indent="0" algn="l">
              <a:buNone/>
              <a:defRPr sz="2400" b="1">
                <a:solidFill>
                  <a:schemeClr val="accent1"/>
                </a:solidFill>
              </a:defRPr>
            </a:lvl3pPr>
            <a:lvl4pPr marL="0" indent="0" algn="l">
              <a:buNone/>
              <a:defRPr sz="2400" b="1">
                <a:solidFill>
                  <a:schemeClr val="accent1"/>
                </a:solidFill>
              </a:defRPr>
            </a:lvl4pPr>
            <a:lvl5pPr marL="0" indent="0" algn="l">
              <a:buNone/>
              <a:defRPr sz="2400" b="1">
                <a:solidFill>
                  <a:schemeClr val="accent1"/>
                </a:solidFill>
              </a:defRPr>
            </a:lvl5pPr>
            <a:lvl6pPr marL="0" indent="0" algn="l">
              <a:buNone/>
              <a:defRPr sz="2400" b="1">
                <a:solidFill>
                  <a:schemeClr val="accent1"/>
                </a:solidFill>
              </a:defRPr>
            </a:lvl6pPr>
            <a:lvl7pPr marL="0" indent="0" algn="l">
              <a:buNone/>
              <a:defRPr sz="2400" b="1">
                <a:solidFill>
                  <a:schemeClr val="accent1"/>
                </a:solidFill>
              </a:defRPr>
            </a:lvl7pPr>
            <a:lvl8pPr marL="0" indent="0" algn="l">
              <a:buNone/>
              <a:defRPr sz="2400" b="1">
                <a:solidFill>
                  <a:schemeClr val="accent1"/>
                </a:solidFill>
              </a:defRPr>
            </a:lvl8pPr>
            <a:lvl9pPr marL="0" indent="0" algn="l">
              <a:buNone/>
              <a:defRPr sz="2400" b="1">
                <a:solidFill>
                  <a:schemeClr val="accent1"/>
                </a:solidFill>
              </a:defRPr>
            </a:lvl9pPr>
          </a:lstStyle>
          <a:p>
            <a:pPr lvl="0"/>
            <a:r>
              <a:rPr lang="de-DE"/>
              <a:t>Master-Untertitelformat bearbeit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261736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E4D992-CF52-4611-B45D-0EC950D0D631}" type="datetimeFigureOut">
              <a:rPr lang="en-US" smtClean="0"/>
              <a:t>10/23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99E73CC-E55D-494F-9A9F-5CD3573F4A61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50419699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E4D992-CF52-4611-B45D-0EC950D0D631}" type="datetimeFigureOut">
              <a:rPr lang="en-US" smtClean="0"/>
              <a:t>10/23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99E73CC-E55D-494F-9A9F-5CD3573F4A61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90633033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E4D992-CF52-4611-B45D-0EC950D0D631}" type="datetimeFigureOut">
              <a:rPr lang="en-US" smtClean="0"/>
              <a:t>10/23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99E73CC-E55D-494F-9A9F-5CD3573F4A61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59658949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E4D992-CF52-4611-B45D-0EC950D0D631}" type="datetimeFigureOut">
              <a:rPr lang="en-US" smtClean="0"/>
              <a:t>10/23/202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99E73CC-E55D-494F-9A9F-5CD3573F4A61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6289195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E4D992-CF52-4611-B45D-0EC950D0D631}" type="datetimeFigureOut">
              <a:rPr lang="en-US" smtClean="0"/>
              <a:t>10/23/2025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99E73CC-E55D-494F-9A9F-5CD3573F4A61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0628597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E4D992-CF52-4611-B45D-0EC950D0D631}" type="datetimeFigureOut">
              <a:rPr lang="en-US" smtClean="0"/>
              <a:t>10/23/2025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99E73CC-E55D-494F-9A9F-5CD3573F4A61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90217955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E4D992-CF52-4611-B45D-0EC950D0D631}" type="datetimeFigureOut">
              <a:rPr lang="en-US" smtClean="0"/>
              <a:t>10/23/2025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99E73CC-E55D-494F-9A9F-5CD3573F4A61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39759510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E4D992-CF52-4611-B45D-0EC950D0D631}" type="datetimeFigureOut">
              <a:rPr lang="en-US" smtClean="0"/>
              <a:t>10/23/202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99E73CC-E55D-494F-9A9F-5CD3573F4A61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12642720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E4D992-CF52-4611-B45D-0EC950D0D631}" type="datetimeFigureOut">
              <a:rPr lang="en-US" smtClean="0"/>
              <a:t>10/23/202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99E73CC-E55D-494F-9A9F-5CD3573F4A61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0266333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alternate 1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0" name="Group 29">
            <a:extLst>
              <a:ext uri="{FF2B5EF4-FFF2-40B4-BE49-F238E27FC236}">
                <a16:creationId xmlns:a16="http://schemas.microsoft.com/office/drawing/2014/main" id="{78B45E58-B0F4-5E47-8F67-D17C2662770E}"/>
              </a:ext>
            </a:extLst>
          </p:cNvPr>
          <p:cNvGrpSpPr/>
          <p:nvPr userDrawn="1"/>
        </p:nvGrpSpPr>
        <p:grpSpPr>
          <a:xfrm>
            <a:off x="0" y="0"/>
            <a:ext cx="10113069" cy="6858000"/>
            <a:chOff x="20548" y="0"/>
            <a:chExt cx="10113069" cy="6858000"/>
          </a:xfrm>
        </p:grpSpPr>
        <p:sp>
          <p:nvSpPr>
            <p:cNvPr id="31" name="Parallelogram 30">
              <a:extLst>
                <a:ext uri="{FF2B5EF4-FFF2-40B4-BE49-F238E27FC236}">
                  <a16:creationId xmlns:a16="http://schemas.microsoft.com/office/drawing/2014/main" id="{6CE1899E-BD87-3449-9C88-BE99D6EA4C97}"/>
                </a:ext>
              </a:extLst>
            </p:cNvPr>
            <p:cNvSpPr/>
            <p:nvPr userDrawn="1"/>
          </p:nvSpPr>
          <p:spPr>
            <a:xfrm>
              <a:off x="6679217" y="0"/>
              <a:ext cx="3454400" cy="6858000"/>
            </a:xfrm>
            <a:prstGeom prst="parallelogram">
              <a:avLst>
                <a:gd name="adj" fmla="val 89594"/>
              </a:avLst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2" name="Freeform 31">
              <a:extLst>
                <a:ext uri="{FF2B5EF4-FFF2-40B4-BE49-F238E27FC236}">
                  <a16:creationId xmlns:a16="http://schemas.microsoft.com/office/drawing/2014/main" id="{AE1F52C2-F043-7D45-8779-3B2BD400235B}"/>
                </a:ext>
              </a:extLst>
            </p:cNvPr>
            <p:cNvSpPr/>
            <p:nvPr userDrawn="1"/>
          </p:nvSpPr>
          <p:spPr>
            <a:xfrm>
              <a:off x="20548" y="0"/>
              <a:ext cx="9774153" cy="6858000"/>
            </a:xfrm>
            <a:custGeom>
              <a:avLst/>
              <a:gdLst>
                <a:gd name="connsiteX0" fmla="*/ 0 w 9774153"/>
                <a:gd name="connsiteY0" fmla="*/ 0 h 6858000"/>
                <a:gd name="connsiteX1" fmla="*/ 175545 w 9774153"/>
                <a:gd name="connsiteY1" fmla="*/ 0 h 6858000"/>
                <a:gd name="connsiteX2" fmla="*/ 9598608 w 9774153"/>
                <a:gd name="connsiteY2" fmla="*/ 0 h 6858000"/>
                <a:gd name="connsiteX3" fmla="*/ 9774153 w 9774153"/>
                <a:gd name="connsiteY3" fmla="*/ 0 h 6858000"/>
                <a:gd name="connsiteX4" fmla="*/ 6679218 w 9774153"/>
                <a:gd name="connsiteY4" fmla="*/ 6858000 h 6858000"/>
                <a:gd name="connsiteX5" fmla="*/ 6503673 w 9774153"/>
                <a:gd name="connsiteY5" fmla="*/ 6858000 h 6858000"/>
                <a:gd name="connsiteX6" fmla="*/ 175545 w 9774153"/>
                <a:gd name="connsiteY6" fmla="*/ 6858000 h 6858000"/>
                <a:gd name="connsiteX7" fmla="*/ 0 w 9774153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774153" h="6858000">
                  <a:moveTo>
                    <a:pt x="0" y="0"/>
                  </a:moveTo>
                  <a:lnTo>
                    <a:pt x="175545" y="0"/>
                  </a:lnTo>
                  <a:lnTo>
                    <a:pt x="9598608" y="0"/>
                  </a:lnTo>
                  <a:lnTo>
                    <a:pt x="9774153" y="0"/>
                  </a:lnTo>
                  <a:lnTo>
                    <a:pt x="6679218" y="6858000"/>
                  </a:lnTo>
                  <a:lnTo>
                    <a:pt x="6503673" y="6858000"/>
                  </a:lnTo>
                  <a:lnTo>
                    <a:pt x="175545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1F428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22" name="Rectangle 21">
            <a:extLst>
              <a:ext uri="{FF2B5EF4-FFF2-40B4-BE49-F238E27FC236}">
                <a16:creationId xmlns:a16="http://schemas.microsoft.com/office/drawing/2014/main" id="{AABFBFA5-5B77-6440-BD16-D378B6056988}"/>
              </a:ext>
            </a:extLst>
          </p:cNvPr>
          <p:cNvSpPr/>
          <p:nvPr userDrawn="1"/>
        </p:nvSpPr>
        <p:spPr>
          <a:xfrm>
            <a:off x="0" y="3509963"/>
            <a:ext cx="12192000" cy="334803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FC5B6C0-649B-F34D-9E2D-93A14AB7DD7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95300" y="1122363"/>
            <a:ext cx="8243182" cy="2387600"/>
          </a:xfrm>
        </p:spPr>
        <p:txBody>
          <a:bodyPr anchor="b"/>
          <a:lstStyle>
            <a:lvl1pPr algn="l">
              <a:defRPr sz="4000" baseline="0"/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06DEC47-4B15-AF45-87E9-F97131FB157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95300" y="3602038"/>
            <a:ext cx="8243182" cy="1655762"/>
          </a:xfrm>
        </p:spPr>
        <p:txBody>
          <a:bodyPr/>
          <a:lstStyle>
            <a:lvl1pPr marL="0" indent="0" algn="l">
              <a:spcBef>
                <a:spcPts val="600"/>
              </a:spcBef>
              <a:buNone/>
              <a:defRPr sz="2400" u="none" baseline="0">
                <a:solidFill>
                  <a:schemeClr val="tx2"/>
                </a:solidFill>
                <a:uFill>
                  <a:solidFill>
                    <a:schemeClr val="accent1"/>
                  </a:solidFill>
                </a:u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7002A96B-DA9D-C149-9E23-E0AF281C637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B80A55A-85AF-6545-BD76-D7C328BDD00F}" type="datetime1">
              <a:rPr lang="en-US" smtClean="0"/>
              <a:t>10/23/2025</a:t>
            </a:fld>
            <a:endParaRPr lang="en-US" dirty="0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A0914D26-55BA-8148-926C-D74E05FD6E6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</p:spPr>
        <p:txBody>
          <a:bodyPr/>
          <a:lstStyle/>
          <a:p>
            <a:r>
              <a:rPr lang="en-US"/>
              <a:t>FOR INTERNAL USE ONLY</a:t>
            </a:r>
            <a:endParaRPr lang="en-US" dirty="0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8F856791-5DB4-F341-814C-82C3EEFCE2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0AFECD8-B8AF-5C4E-B306-A0438013ED66}" type="slidenum">
              <a:rPr lang="en-US" smtClean="0"/>
              <a:t>‹Nr.›</a:t>
            </a:fld>
            <a:endParaRPr lang="en-US" dirty="0"/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5059E918-0022-944B-9297-9E561DBC097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8838351" y="4341806"/>
            <a:ext cx="3190374" cy="2166390"/>
          </a:xfrm>
          <a:prstGeom prst="rect">
            <a:avLst/>
          </a:prstGeom>
        </p:spPr>
      </p:pic>
      <p:grpSp>
        <p:nvGrpSpPr>
          <p:cNvPr id="27" name="Group 26">
            <a:extLst>
              <a:ext uri="{FF2B5EF4-FFF2-40B4-BE49-F238E27FC236}">
                <a16:creationId xmlns:a16="http://schemas.microsoft.com/office/drawing/2014/main" id="{2CC578F8-558A-BB4D-806E-DDE2C49964FC}"/>
              </a:ext>
            </a:extLst>
          </p:cNvPr>
          <p:cNvGrpSpPr/>
          <p:nvPr userDrawn="1"/>
        </p:nvGrpSpPr>
        <p:grpSpPr>
          <a:xfrm>
            <a:off x="10046824" y="231451"/>
            <a:ext cx="1930589" cy="549371"/>
            <a:chOff x="8736118" y="1637730"/>
            <a:chExt cx="2478142" cy="705184"/>
          </a:xfrm>
        </p:grpSpPr>
        <p:pic>
          <p:nvPicPr>
            <p:cNvPr id="28" name="Picture 27">
              <a:extLst>
                <a:ext uri="{FF2B5EF4-FFF2-40B4-BE49-F238E27FC236}">
                  <a16:creationId xmlns:a16="http://schemas.microsoft.com/office/drawing/2014/main" id="{A6000D75-49A0-E449-B6E5-1A76FF350E94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/>
            <a:stretch>
              <a:fillRect/>
            </a:stretch>
          </p:blipFill>
          <p:spPr>
            <a:xfrm>
              <a:off x="10509076" y="1637730"/>
              <a:ext cx="705184" cy="705184"/>
            </a:xfrm>
            <a:prstGeom prst="rect">
              <a:avLst/>
            </a:prstGeom>
          </p:spPr>
        </p:pic>
        <p:pic>
          <p:nvPicPr>
            <p:cNvPr id="29" name="Picture 28">
              <a:extLst>
                <a:ext uri="{FF2B5EF4-FFF2-40B4-BE49-F238E27FC236}">
                  <a16:creationId xmlns:a16="http://schemas.microsoft.com/office/drawing/2014/main" id="{47EFAEF2-A745-0E4B-9716-D433B3EF8B4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/>
            <a:stretch>
              <a:fillRect/>
            </a:stretch>
          </p:blipFill>
          <p:spPr>
            <a:xfrm>
              <a:off x="8736118" y="1728542"/>
              <a:ext cx="1397890" cy="55341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463956904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E4D992-CF52-4611-B45D-0EC950D0D631}" type="datetimeFigureOut">
              <a:rPr lang="en-US" smtClean="0"/>
              <a:t>10/23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99E73CC-E55D-494F-9A9F-5CD3573F4A61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18211475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E4D992-CF52-4611-B45D-0EC950D0D631}" type="datetimeFigureOut">
              <a:rPr lang="en-US" smtClean="0"/>
              <a:t>10/23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99E73CC-E55D-494F-9A9F-5CD3573F4A61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3035467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Bumper Slid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7" name="Group 26">
            <a:extLst>
              <a:ext uri="{FF2B5EF4-FFF2-40B4-BE49-F238E27FC236}">
                <a16:creationId xmlns:a16="http://schemas.microsoft.com/office/drawing/2014/main" id="{6EDE9CCF-D32F-AA4F-A6BA-FEAC7DA2297C}"/>
              </a:ext>
            </a:extLst>
          </p:cNvPr>
          <p:cNvGrpSpPr/>
          <p:nvPr userDrawn="1"/>
        </p:nvGrpSpPr>
        <p:grpSpPr>
          <a:xfrm>
            <a:off x="0" y="0"/>
            <a:ext cx="7812426" cy="6858000"/>
            <a:chOff x="29765" y="0"/>
            <a:chExt cx="7812426" cy="6858000"/>
          </a:xfrm>
        </p:grpSpPr>
        <p:sp>
          <p:nvSpPr>
            <p:cNvPr id="29" name="Parallelogram 28">
              <a:extLst>
                <a:ext uri="{FF2B5EF4-FFF2-40B4-BE49-F238E27FC236}">
                  <a16:creationId xmlns:a16="http://schemas.microsoft.com/office/drawing/2014/main" id="{928C4630-B298-204A-AD43-222B4811DA97}"/>
                </a:ext>
              </a:extLst>
            </p:cNvPr>
            <p:cNvSpPr/>
            <p:nvPr userDrawn="1"/>
          </p:nvSpPr>
          <p:spPr>
            <a:xfrm>
              <a:off x="4387791" y="0"/>
              <a:ext cx="3454400" cy="6858000"/>
            </a:xfrm>
            <a:prstGeom prst="parallelogram">
              <a:avLst>
                <a:gd name="adj" fmla="val 89594"/>
              </a:avLst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EAC653CE-03F0-5A43-9D35-659009E07DE7}"/>
                </a:ext>
              </a:extLst>
            </p:cNvPr>
            <p:cNvSpPr/>
            <p:nvPr userDrawn="1"/>
          </p:nvSpPr>
          <p:spPr>
            <a:xfrm>
              <a:off x="29765" y="0"/>
              <a:ext cx="7495273" cy="6858000"/>
            </a:xfrm>
            <a:custGeom>
              <a:avLst/>
              <a:gdLst>
                <a:gd name="connsiteX0" fmla="*/ 0 w 7495273"/>
                <a:gd name="connsiteY0" fmla="*/ 0 h 6858000"/>
                <a:gd name="connsiteX1" fmla="*/ 7495273 w 7495273"/>
                <a:gd name="connsiteY1" fmla="*/ 0 h 6858000"/>
                <a:gd name="connsiteX2" fmla="*/ 4400338 w 7495273"/>
                <a:gd name="connsiteY2" fmla="*/ 6858000 h 6858000"/>
                <a:gd name="connsiteX3" fmla="*/ 0 w 7495273"/>
                <a:gd name="connsiteY3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495273" h="6858000">
                  <a:moveTo>
                    <a:pt x="0" y="0"/>
                  </a:moveTo>
                  <a:lnTo>
                    <a:pt x="7495273" y="0"/>
                  </a:lnTo>
                  <a:lnTo>
                    <a:pt x="4400338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1F428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21" name="Rectangle 20">
            <a:extLst>
              <a:ext uri="{FF2B5EF4-FFF2-40B4-BE49-F238E27FC236}">
                <a16:creationId xmlns:a16="http://schemas.microsoft.com/office/drawing/2014/main" id="{0A2C82AC-9FB2-8D42-9E9A-1EC8648F1151}"/>
              </a:ext>
            </a:extLst>
          </p:cNvPr>
          <p:cNvSpPr/>
          <p:nvPr userDrawn="1"/>
        </p:nvSpPr>
        <p:spPr>
          <a:xfrm>
            <a:off x="0" y="1380221"/>
            <a:ext cx="12192000" cy="421035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FC5B6C0-649B-F34D-9E2D-93A14AB7DD7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95300" y="1122363"/>
            <a:ext cx="5627204" cy="2387600"/>
          </a:xfrm>
        </p:spPr>
        <p:txBody>
          <a:bodyPr anchor="b"/>
          <a:lstStyle>
            <a:lvl1pPr algn="l">
              <a:defRPr sz="4000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BUMPER SLID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06DEC47-4B15-AF45-87E9-F97131FB157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95300" y="3602038"/>
            <a:ext cx="4529924" cy="1655762"/>
          </a:xfrm>
        </p:spPr>
        <p:txBody>
          <a:bodyPr/>
          <a:lstStyle>
            <a:lvl1pPr marL="0" indent="0" algn="l">
              <a:spcBef>
                <a:spcPts val="600"/>
              </a:spcBef>
              <a:buNone/>
              <a:defRPr sz="2400" u="none" baseline="0">
                <a:solidFill>
                  <a:schemeClr val="tx2"/>
                </a:solidFill>
                <a:uFill>
                  <a:solidFill>
                    <a:schemeClr val="accent1"/>
                  </a:solidFill>
                </a:u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44BD9C38-583A-254C-A1AE-F2952A4A835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89D4D713-D536-2047-A851-1E7DDB9F45CA}" type="datetime1">
              <a:rPr lang="en-US" smtClean="0"/>
              <a:pPr/>
              <a:t>10/23/2025</a:t>
            </a:fld>
            <a:endParaRPr lang="en-US" dirty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7C17A973-3111-B646-BA04-00E41F5BE8D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FOR INTERNAL USE ONLY</a:t>
            </a:r>
            <a:endParaRPr lang="en-US" dirty="0"/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D04567E9-9CA0-FB4E-AD11-DE2319884C5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0AFECD8-B8AF-5C4E-B306-A0438013ED66}" type="slidenum">
              <a:rPr lang="en-US" smtClean="0"/>
              <a:pPr/>
              <a:t>‹Nr.›</a:t>
            </a:fld>
            <a:endParaRPr lang="en-US" dirty="0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8BCA78D6-6342-E346-B48F-A89B2AF0C6B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9341354" y="3753853"/>
            <a:ext cx="2540300" cy="1724964"/>
          </a:xfrm>
          <a:prstGeom prst="rect">
            <a:avLst/>
          </a:prstGeom>
        </p:spPr>
      </p:pic>
      <p:grpSp>
        <p:nvGrpSpPr>
          <p:cNvPr id="20" name="Group 19">
            <a:extLst>
              <a:ext uri="{FF2B5EF4-FFF2-40B4-BE49-F238E27FC236}">
                <a16:creationId xmlns:a16="http://schemas.microsoft.com/office/drawing/2014/main" id="{FB9693E7-8840-2943-AB86-606DD99E04D3}"/>
              </a:ext>
            </a:extLst>
          </p:cNvPr>
          <p:cNvGrpSpPr/>
          <p:nvPr userDrawn="1"/>
        </p:nvGrpSpPr>
        <p:grpSpPr>
          <a:xfrm>
            <a:off x="10046824" y="231451"/>
            <a:ext cx="1930589" cy="549371"/>
            <a:chOff x="8736118" y="1637730"/>
            <a:chExt cx="2478142" cy="705184"/>
          </a:xfrm>
        </p:grpSpPr>
        <p:pic>
          <p:nvPicPr>
            <p:cNvPr id="22" name="Picture 21">
              <a:extLst>
                <a:ext uri="{FF2B5EF4-FFF2-40B4-BE49-F238E27FC236}">
                  <a16:creationId xmlns:a16="http://schemas.microsoft.com/office/drawing/2014/main" id="{0FB7BFE1-406F-0D4D-8C7B-417CF911E800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/>
            <a:stretch>
              <a:fillRect/>
            </a:stretch>
          </p:blipFill>
          <p:spPr>
            <a:xfrm>
              <a:off x="10509076" y="1637730"/>
              <a:ext cx="705184" cy="705184"/>
            </a:xfrm>
            <a:prstGeom prst="rect">
              <a:avLst/>
            </a:prstGeom>
          </p:spPr>
        </p:pic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D48C2347-AB8F-9D42-BC02-634607452ED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/>
            <a:stretch>
              <a:fillRect/>
            </a:stretch>
          </p:blipFill>
          <p:spPr>
            <a:xfrm>
              <a:off x="8736118" y="1728542"/>
              <a:ext cx="1397890" cy="55341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37782418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BF71A2E-1D04-F441-844E-0C200944325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5300" y="1825625"/>
            <a:ext cx="9483587" cy="4351338"/>
          </a:xfrm>
        </p:spPr>
        <p:txBody>
          <a:bodyPr/>
          <a:lstStyle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 sz="1800">
                <a:solidFill>
                  <a:schemeClr val="tx2"/>
                </a:solidFill>
              </a:defRPr>
            </a:lvl4pPr>
            <a:lvl5pPr>
              <a:defRPr sz="16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703CBD74-E145-9A4B-AF40-81075C209E2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7150E0-9EAA-5C40-BC48-0E092ADAF3D4}" type="datetime1">
              <a:rPr lang="en-US" smtClean="0"/>
              <a:t>10/23/2025</a:t>
            </a:fld>
            <a:endParaRPr lang="en-US" dirty="0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50AB81B8-FA8C-E943-9BDE-DCC7952CBC9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b="1" i="0" baseline="0"/>
            </a:lvl1pPr>
          </a:lstStyle>
          <a:p>
            <a:r>
              <a:rPr lang="en-US" dirty="0"/>
              <a:t>FOR INTERNAL USE ONLY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ACF16414-ED7A-D44A-AFDC-E4C657FC79A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0AFECD8-B8AF-5C4E-B306-A0438013ED66}" type="slidenum">
              <a:rPr lang="en-US" smtClean="0"/>
              <a:t>‹Nr.›</a:t>
            </a:fld>
            <a:endParaRPr lang="en-US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052EDBEE-768C-C240-92F5-019B7286C22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10325624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5FEA0F3-FE77-4342-9F85-A445BCEDC24A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95300" y="1825625"/>
            <a:ext cx="5219700" cy="3732337"/>
          </a:xfrm>
        </p:spPr>
        <p:txBody>
          <a:bodyPr/>
          <a:lstStyle>
            <a:lvl2pPr>
              <a:defRPr baseline="0">
                <a:solidFill>
                  <a:schemeClr val="tx2"/>
                </a:solidFill>
              </a:defRPr>
            </a:lvl2pPr>
            <a:lvl3pPr>
              <a:defRPr baseline="0">
                <a:solidFill>
                  <a:schemeClr val="tx2"/>
                </a:solidFill>
              </a:defRPr>
            </a:lvl3pPr>
            <a:lvl4pPr>
              <a:defRPr baseline="0">
                <a:solidFill>
                  <a:schemeClr val="tx2"/>
                </a:solidFill>
              </a:defRPr>
            </a:lvl4pPr>
            <a:lvl5pPr>
              <a:defRPr baseline="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D38F12A-92D9-C04F-948A-1A7BDED22BE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5867400" y="1825625"/>
            <a:ext cx="5181600" cy="3732337"/>
          </a:xfrm>
        </p:spPr>
        <p:txBody>
          <a:bodyPr/>
          <a:lstStyle>
            <a:lvl2pPr>
              <a:defRPr baseline="0">
                <a:solidFill>
                  <a:schemeClr val="tx2"/>
                </a:solidFill>
              </a:defRPr>
            </a:lvl2pPr>
            <a:lvl3pPr>
              <a:defRPr baseline="0">
                <a:solidFill>
                  <a:schemeClr val="tx2"/>
                </a:solidFill>
              </a:defRPr>
            </a:lvl3pPr>
            <a:lvl4pPr>
              <a:defRPr baseline="0">
                <a:solidFill>
                  <a:schemeClr val="tx2"/>
                </a:solidFill>
              </a:defRPr>
            </a:lvl4pPr>
            <a:lvl5pPr>
              <a:defRPr baseline="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DC024075-CE92-864D-BB63-ECA21C4A4BC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43EBB7-D426-AB49-9ED9-FE9C62AE0A26}" type="datetime1">
              <a:rPr lang="en-US" smtClean="0"/>
              <a:t>10/23/2025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5217306-C568-A74F-93D5-CB527C7F813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FOR INTERNAL USE ONLY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F39A6D4-8217-9047-9309-6F3296601C9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0AFECD8-B8AF-5C4E-B306-A0438013ED66}" type="slidenum">
              <a:rPr lang="en-US" smtClean="0"/>
              <a:t>‹Nr.›</a:t>
            </a:fld>
            <a:endParaRPr lang="en-US" dirty="0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2A05A640-E2E9-7044-AC75-31DDB2AEB9B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lnSpc>
                <a:spcPct val="85000"/>
              </a:lnSpc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1965626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87B0AE6-C8D1-8C4D-8231-0D159F2258D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95300" y="1421180"/>
            <a:ext cx="5120612" cy="823912"/>
          </a:xfrm>
        </p:spPr>
        <p:txBody>
          <a:bodyPr anchor="b">
            <a:normAutofit/>
          </a:bodyPr>
          <a:lstStyle>
            <a:lvl1pPr marL="0" indent="0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88E97601-30DB-7247-95EC-E5DC55D3EF9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95300" y="2245092"/>
            <a:ext cx="5120612" cy="3029033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E4F5C0D-5A5A-EA47-A641-D68AB69322D3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5790537" y="1421180"/>
            <a:ext cx="5183188" cy="823912"/>
          </a:xfrm>
        </p:spPr>
        <p:txBody>
          <a:bodyPr anchor="b">
            <a:normAutofit/>
          </a:bodyPr>
          <a:lstStyle>
            <a:lvl1pPr marL="0" indent="0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08CD8D6D-0E2A-B74B-86F4-9F1A92708524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5790537" y="2245092"/>
            <a:ext cx="5183188" cy="3029033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099CE67B-5FB4-CC41-B8EC-B53F04C8B57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C213C15-FE86-914F-A8A3-B8749E98BC23}" type="datetime1">
              <a:rPr lang="en-US" smtClean="0"/>
              <a:t>10/23/2025</a:t>
            </a:fld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8B6E641E-FC2D-4447-B609-D59411A3674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FOR INTERNAL USE ONLY</a:t>
            </a:r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5D4B0B08-EBF0-8348-A7B2-017A950C053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0AFECD8-B8AF-5C4E-B306-A0438013ED66}" type="slidenum">
              <a:rPr lang="en-US" smtClean="0"/>
              <a:t>‹Nr.›</a:t>
            </a:fld>
            <a:endParaRPr lang="en-US" dirty="0"/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50657FED-0BE6-2B46-93FB-E5A3B7DF8E6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49683802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DFA904D-ED8C-AC41-84DE-8253AE32D63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98BDB17-5F77-B640-B829-6B26F62B9635}" type="datetime1">
              <a:rPr lang="en-US" smtClean="0"/>
              <a:t>10/23/2025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CE223AD-CE3D-734A-98DA-F7BD9700DF6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FOR INTERNAL USE ONLY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2C8BEBF-ADEB-9247-AC7D-F5F28250206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0AFECD8-B8AF-5C4E-B306-A0438013ED66}" type="slidenum">
              <a:rPr lang="en-US" smtClean="0"/>
              <a:t>‹Nr.›</a:t>
            </a:fld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31EEF3D0-910B-0342-9BCF-2D0FEE48443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47117256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3.tif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2.emf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2.xml"/><Relationship Id="rId13" Type="http://schemas.openxmlformats.org/officeDocument/2006/relationships/slideLayout" Target="../slideLayouts/slideLayout27.xml"/><Relationship Id="rId18" Type="http://schemas.openxmlformats.org/officeDocument/2006/relationships/image" Target="../media/image6.png"/><Relationship Id="rId3" Type="http://schemas.openxmlformats.org/officeDocument/2006/relationships/slideLayout" Target="../slideLayouts/slideLayout17.xml"/><Relationship Id="rId21" Type="http://schemas.openxmlformats.org/officeDocument/2006/relationships/image" Target="../media/image9.png"/><Relationship Id="rId7" Type="http://schemas.openxmlformats.org/officeDocument/2006/relationships/slideLayout" Target="../slideLayouts/slideLayout21.xml"/><Relationship Id="rId12" Type="http://schemas.openxmlformats.org/officeDocument/2006/relationships/slideLayout" Target="../slideLayouts/slideLayout26.xml"/><Relationship Id="rId17" Type="http://schemas.openxmlformats.org/officeDocument/2006/relationships/theme" Target="../theme/theme2.xml"/><Relationship Id="rId2" Type="http://schemas.openxmlformats.org/officeDocument/2006/relationships/slideLayout" Target="../slideLayouts/slideLayout16.xml"/><Relationship Id="rId16" Type="http://schemas.openxmlformats.org/officeDocument/2006/relationships/slideLayout" Target="../slideLayouts/slideLayout30.xml"/><Relationship Id="rId20" Type="http://schemas.openxmlformats.org/officeDocument/2006/relationships/image" Target="../media/image8.png"/><Relationship Id="rId1" Type="http://schemas.openxmlformats.org/officeDocument/2006/relationships/slideLayout" Target="../slideLayouts/slideLayout15.xml"/><Relationship Id="rId6" Type="http://schemas.openxmlformats.org/officeDocument/2006/relationships/slideLayout" Target="../slideLayouts/slideLayout20.xml"/><Relationship Id="rId11" Type="http://schemas.openxmlformats.org/officeDocument/2006/relationships/slideLayout" Target="../slideLayouts/slideLayout25.xml"/><Relationship Id="rId5" Type="http://schemas.openxmlformats.org/officeDocument/2006/relationships/slideLayout" Target="../slideLayouts/slideLayout19.xml"/><Relationship Id="rId15" Type="http://schemas.openxmlformats.org/officeDocument/2006/relationships/slideLayout" Target="../slideLayouts/slideLayout29.xml"/><Relationship Id="rId23" Type="http://schemas.openxmlformats.org/officeDocument/2006/relationships/image" Target="../media/image11.png"/><Relationship Id="rId10" Type="http://schemas.openxmlformats.org/officeDocument/2006/relationships/slideLayout" Target="../slideLayouts/slideLayout24.xml"/><Relationship Id="rId19" Type="http://schemas.openxmlformats.org/officeDocument/2006/relationships/image" Target="../media/image7.png"/><Relationship Id="rId4" Type="http://schemas.openxmlformats.org/officeDocument/2006/relationships/slideLayout" Target="../slideLayouts/slideLayout18.xml"/><Relationship Id="rId9" Type="http://schemas.openxmlformats.org/officeDocument/2006/relationships/slideLayout" Target="../slideLayouts/slideLayout23.xml"/><Relationship Id="rId14" Type="http://schemas.openxmlformats.org/officeDocument/2006/relationships/slideLayout" Target="../slideLayouts/slideLayout28.xml"/><Relationship Id="rId22" Type="http://schemas.openxmlformats.org/officeDocument/2006/relationships/image" Target="../media/image10.pn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8.xml"/><Relationship Id="rId3" Type="http://schemas.openxmlformats.org/officeDocument/2006/relationships/slideLayout" Target="../slideLayouts/slideLayout33.xml"/><Relationship Id="rId7" Type="http://schemas.openxmlformats.org/officeDocument/2006/relationships/slideLayout" Target="../slideLayouts/slideLayout37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32.xml"/><Relationship Id="rId1" Type="http://schemas.openxmlformats.org/officeDocument/2006/relationships/slideLayout" Target="../slideLayouts/slideLayout31.xml"/><Relationship Id="rId6" Type="http://schemas.openxmlformats.org/officeDocument/2006/relationships/slideLayout" Target="../slideLayouts/slideLayout36.xml"/><Relationship Id="rId11" Type="http://schemas.openxmlformats.org/officeDocument/2006/relationships/slideLayout" Target="../slideLayouts/slideLayout41.xml"/><Relationship Id="rId5" Type="http://schemas.openxmlformats.org/officeDocument/2006/relationships/slideLayout" Target="../slideLayouts/slideLayout35.xml"/><Relationship Id="rId10" Type="http://schemas.openxmlformats.org/officeDocument/2006/relationships/slideLayout" Target="../slideLayouts/slideLayout40.xml"/><Relationship Id="rId4" Type="http://schemas.openxmlformats.org/officeDocument/2006/relationships/slideLayout" Target="../slideLayouts/slideLayout34.xml"/><Relationship Id="rId9" Type="http://schemas.openxmlformats.org/officeDocument/2006/relationships/slideLayout" Target="../slideLayouts/slideLayout3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16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33">
            <a:extLst>
              <a:ext uri="{FF2B5EF4-FFF2-40B4-BE49-F238E27FC236}">
                <a16:creationId xmlns:a16="http://schemas.microsoft.com/office/drawing/2014/main" id="{6F3D0C75-2109-0640-A7D2-A88EF70909F8}"/>
              </a:ext>
            </a:extLst>
          </p:cNvPr>
          <p:cNvSpPr/>
          <p:nvPr userDrawn="1"/>
        </p:nvSpPr>
        <p:spPr>
          <a:xfrm>
            <a:off x="9534106" y="-1"/>
            <a:ext cx="2657895" cy="107632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Freeform 31">
            <a:extLst>
              <a:ext uri="{FF2B5EF4-FFF2-40B4-BE49-F238E27FC236}">
                <a16:creationId xmlns:a16="http://schemas.microsoft.com/office/drawing/2014/main" id="{AAD0361F-9B2A-0648-9585-CAC83CDB472F}"/>
              </a:ext>
            </a:extLst>
          </p:cNvPr>
          <p:cNvSpPr/>
          <p:nvPr userDrawn="1"/>
        </p:nvSpPr>
        <p:spPr>
          <a:xfrm>
            <a:off x="9534106" y="-1"/>
            <a:ext cx="602527" cy="1076325"/>
          </a:xfrm>
          <a:custGeom>
            <a:avLst/>
            <a:gdLst>
              <a:gd name="connsiteX0" fmla="*/ 485733 w 602527"/>
              <a:gd name="connsiteY0" fmla="*/ 0 h 1076325"/>
              <a:gd name="connsiteX1" fmla="*/ 602527 w 602527"/>
              <a:gd name="connsiteY1" fmla="*/ 0 h 1076325"/>
              <a:gd name="connsiteX2" fmla="*/ 116794 w 602527"/>
              <a:gd name="connsiteY2" fmla="*/ 1076325 h 1076325"/>
              <a:gd name="connsiteX3" fmla="*/ 0 w 602527"/>
              <a:gd name="connsiteY3" fmla="*/ 1076325 h 1076325"/>
              <a:gd name="connsiteX4" fmla="*/ 485733 w 602527"/>
              <a:gd name="connsiteY4" fmla="*/ 0 h 10763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2527" h="1076325">
                <a:moveTo>
                  <a:pt x="485733" y="0"/>
                </a:moveTo>
                <a:lnTo>
                  <a:pt x="602527" y="0"/>
                </a:lnTo>
                <a:lnTo>
                  <a:pt x="116794" y="1076325"/>
                </a:lnTo>
                <a:lnTo>
                  <a:pt x="0" y="1076325"/>
                </a:lnTo>
                <a:lnTo>
                  <a:pt x="485733" y="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Freeform 23">
            <a:extLst>
              <a:ext uri="{FF2B5EF4-FFF2-40B4-BE49-F238E27FC236}">
                <a16:creationId xmlns:a16="http://schemas.microsoft.com/office/drawing/2014/main" id="{017D0922-3950-7D4A-8176-545FB88FCDC9}"/>
              </a:ext>
            </a:extLst>
          </p:cNvPr>
          <p:cNvSpPr/>
          <p:nvPr userDrawn="1"/>
        </p:nvSpPr>
        <p:spPr>
          <a:xfrm>
            <a:off x="0" y="-1"/>
            <a:ext cx="10019838" cy="1076325"/>
          </a:xfrm>
          <a:custGeom>
            <a:avLst/>
            <a:gdLst>
              <a:gd name="connsiteX0" fmla="*/ 0 w 10019838"/>
              <a:gd name="connsiteY0" fmla="*/ 0 h 1076325"/>
              <a:gd name="connsiteX1" fmla="*/ 10019838 w 10019838"/>
              <a:gd name="connsiteY1" fmla="*/ 0 h 1076325"/>
              <a:gd name="connsiteX2" fmla="*/ 9534105 w 10019838"/>
              <a:gd name="connsiteY2" fmla="*/ 1076325 h 1076325"/>
              <a:gd name="connsiteX3" fmla="*/ 0 w 10019838"/>
              <a:gd name="connsiteY3" fmla="*/ 1076325 h 10763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19838" h="1076325">
                <a:moveTo>
                  <a:pt x="0" y="0"/>
                </a:moveTo>
                <a:lnTo>
                  <a:pt x="10019838" y="0"/>
                </a:lnTo>
                <a:lnTo>
                  <a:pt x="9534105" y="1076325"/>
                </a:lnTo>
                <a:lnTo>
                  <a:pt x="0" y="1076325"/>
                </a:lnTo>
                <a:close/>
              </a:path>
            </a:pathLst>
          </a:custGeom>
          <a:solidFill>
            <a:srgbClr val="1F428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D37EB126-FE29-544B-8613-510E0ADD4360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495299" y="125128"/>
            <a:ext cx="10448193" cy="890872"/>
          </a:xfrm>
          <a:prstGeom prst="rect">
            <a:avLst/>
          </a:prstGeom>
        </p:spPr>
        <p:txBody>
          <a:bodyPr vert="horz" lIns="0" tIns="45720" rIns="91440" bIns="45720" rtlCol="0" anchor="ctr">
            <a:normAutofit/>
          </a:bodyPr>
          <a:lstStyle/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E7EB39E-7124-9A44-BECF-D8CFC886AED0}"/>
              </a:ext>
            </a:extLst>
          </p:cNvPr>
          <p:cNvSpPr>
            <a:spLocks noGrp="1"/>
          </p:cNvSpPr>
          <p:nvPr userDrawn="1">
            <p:ph type="body" idx="1"/>
          </p:nvPr>
        </p:nvSpPr>
        <p:spPr>
          <a:xfrm>
            <a:off x="525462" y="1825625"/>
            <a:ext cx="10441475" cy="4351338"/>
          </a:xfrm>
          <a:prstGeom prst="rect">
            <a:avLst/>
          </a:prstGeom>
        </p:spPr>
        <p:txBody>
          <a:bodyPr vert="horz" lIns="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CB61A5F-C324-9343-9A72-03C124D5E53E}"/>
              </a:ext>
            </a:extLst>
          </p:cNvPr>
          <p:cNvSpPr>
            <a:spLocks noGrp="1"/>
          </p:cNvSpPr>
          <p:nvPr userDrawn="1"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0A00CC8-20D9-CA47-B460-D14CA09E1CFC}" type="datetime1">
              <a:rPr lang="en-US" smtClean="0"/>
              <a:pPr/>
              <a:t>10/23/2025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22365B9-9D87-E647-B9DE-7603201AFBC7}"/>
              </a:ext>
            </a:extLst>
          </p:cNvPr>
          <p:cNvSpPr>
            <a:spLocks noGrp="1"/>
          </p:cNvSpPr>
          <p:nvPr userDrawn="1"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 b="1" i="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/>
              <a:t>FOR INTERNAL USE ONLY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1BDA642-3C68-9B4B-93B9-4339A70042C7}"/>
              </a:ext>
            </a:extLst>
          </p:cNvPr>
          <p:cNvSpPr>
            <a:spLocks noGrp="1"/>
          </p:cNvSpPr>
          <p:nvPr userDrawn="1">
            <p:ph type="sldNum" sz="quarter" idx="4"/>
          </p:nvPr>
        </p:nvSpPr>
        <p:spPr>
          <a:xfrm>
            <a:off x="121966" y="6397451"/>
            <a:ext cx="394643" cy="324024"/>
          </a:xfrm>
          <a:prstGeom prst="rect">
            <a:avLst/>
          </a:prstGeom>
          <a:solidFill>
            <a:srgbClr val="1F4288">
              <a:alpha val="50196"/>
            </a:srgbClr>
          </a:solidFill>
        </p:spPr>
        <p:txBody>
          <a:bodyPr vert="horz" lIns="91440" tIns="45720" rIns="91440" bIns="45720" rtlCol="0" anchor="ctr"/>
          <a:lstStyle>
            <a:lvl1pPr algn="ctr">
              <a:defRPr sz="1100" b="1" i="0" baseline="0">
                <a:solidFill>
                  <a:schemeClr val="bg1"/>
                </a:solidFill>
              </a:defRPr>
            </a:lvl1pPr>
          </a:lstStyle>
          <a:p>
            <a:fld id="{C0AFECD8-B8AF-5C4E-B306-A0438013ED66}" type="slidenum">
              <a:rPr lang="en-US" smtClean="0"/>
              <a:pPr/>
              <a:t>‹Nr.›</a:t>
            </a:fld>
            <a:endParaRPr lang="en-US" dirty="0"/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B6C429F6-DE49-844D-BC47-458C856E861D}"/>
              </a:ext>
            </a:extLst>
          </p:cNvPr>
          <p:cNvGrpSpPr/>
          <p:nvPr userDrawn="1"/>
        </p:nvGrpSpPr>
        <p:grpSpPr>
          <a:xfrm>
            <a:off x="10046824" y="231451"/>
            <a:ext cx="1930589" cy="549371"/>
            <a:chOff x="8736118" y="1637730"/>
            <a:chExt cx="2478142" cy="705184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E6CCE957-14A5-C84A-B741-F50F0F16A87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7"/>
            <a:stretch>
              <a:fillRect/>
            </a:stretch>
          </p:blipFill>
          <p:spPr>
            <a:xfrm>
              <a:off x="10509076" y="1637730"/>
              <a:ext cx="705184" cy="705184"/>
            </a:xfrm>
            <a:prstGeom prst="rect">
              <a:avLst/>
            </a:prstGeom>
          </p:spPr>
        </p:pic>
        <p:pic>
          <p:nvPicPr>
            <p:cNvPr id="27" name="Picture 26">
              <a:extLst>
                <a:ext uri="{FF2B5EF4-FFF2-40B4-BE49-F238E27FC236}">
                  <a16:creationId xmlns:a16="http://schemas.microsoft.com/office/drawing/2014/main" id="{98D6C843-8510-444D-8351-263FB074E9E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8"/>
            <a:stretch>
              <a:fillRect/>
            </a:stretch>
          </p:blipFill>
          <p:spPr>
            <a:xfrm>
              <a:off x="8736118" y="1728542"/>
              <a:ext cx="1397890" cy="55341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9947802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7" r:id="rId1"/>
    <p:sldLayoutId id="2147483738" r:id="rId2"/>
    <p:sldLayoutId id="2147483739" r:id="rId3"/>
    <p:sldLayoutId id="2147483740" r:id="rId4"/>
    <p:sldLayoutId id="2147483741" r:id="rId5"/>
    <p:sldLayoutId id="2147483742" r:id="rId6"/>
    <p:sldLayoutId id="2147483743" r:id="rId7"/>
    <p:sldLayoutId id="2147483744" r:id="rId8"/>
    <p:sldLayoutId id="2147483745" r:id="rId9"/>
    <p:sldLayoutId id="2147483746" r:id="rId10"/>
    <p:sldLayoutId id="2147483747" r:id="rId11"/>
    <p:sldLayoutId id="2147483748" r:id="rId12"/>
    <p:sldLayoutId id="2147483749" r:id="rId13"/>
    <p:sldLayoutId id="2147483750" r:id="rId14"/>
  </p:sldLayoutIdLst>
  <p:hf hdr="0" dt="0"/>
  <p:txStyles>
    <p:titleStyle>
      <a:lvl1pPr algn="l" defTabSz="914400" rtl="0" eaLnBrk="1" latinLnBrk="0" hangingPunct="1">
        <a:lnSpc>
          <a:spcPct val="85000"/>
        </a:lnSpc>
        <a:spcBef>
          <a:spcPct val="0"/>
        </a:spcBef>
        <a:buNone/>
        <a:defRPr sz="2800" b="1" i="0" kern="1200" cap="all" baseline="0">
          <a:solidFill>
            <a:schemeClr val="bg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000" kern="1200" baseline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Helvetica" pitchFamily="2" charset="0"/>
        <a:buChar char="―"/>
        <a:defRPr sz="1800" kern="1200" baseline="0">
          <a:solidFill>
            <a:schemeClr val="tx2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600" kern="1200" baseline="0">
          <a:solidFill>
            <a:schemeClr val="tx2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 baseline="0">
          <a:solidFill>
            <a:schemeClr val="tx2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 baseline="0">
          <a:solidFill>
            <a:schemeClr val="tx2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12">
          <p15:clr>
            <a:srgbClr val="F26B43"/>
          </p15:clr>
        </p15:guide>
        <p15:guide id="2" pos="7344">
          <p15:clr>
            <a:srgbClr val="F26B43"/>
          </p15:clr>
        </p15:guide>
        <p15:guide id="3" orient="horz" pos="1147">
          <p15:clr>
            <a:srgbClr val="F26B43"/>
          </p15:clr>
        </p15:guide>
        <p15:guide id="4" orient="horz" pos="4002">
          <p15:clr>
            <a:srgbClr val="F26B43"/>
          </p15:clr>
        </p15:guide>
        <p15:guide id="5" orient="horz" pos="2160">
          <p15:clr>
            <a:srgbClr val="F26B43"/>
          </p15:clr>
        </p15:guide>
        <p15:guide id="6" orient="horz" pos="3408">
          <p15:clr>
            <a:srgbClr val="F26B43"/>
          </p15:clr>
        </p15:guide>
        <p15:guide id="7" pos="6178">
          <p15:clr>
            <a:srgbClr val="F26B43"/>
          </p15:clr>
        </p15:guide>
        <p15:guide id="8" pos="3840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A21C49B4-753C-B641-9EB2-13A016D6A1DF}"/>
              </a:ext>
            </a:extLst>
          </p:cNvPr>
          <p:cNvPicPr>
            <a:picLocks noChangeAspect="1"/>
          </p:cNvPicPr>
          <p:nvPr/>
        </p:nvPicPr>
        <p:blipFill>
          <a:blip r:embed="rId18"/>
          <a:srcRect/>
          <a:stretch/>
        </p:blipFill>
        <p:spPr>
          <a:xfrm>
            <a:off x="0" y="0"/>
            <a:ext cx="12193587" cy="6858000"/>
          </a:xfrm>
          <a:prstGeom prst="rect">
            <a:avLst/>
          </a:prstGeom>
        </p:spPr>
      </p:pic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512300" y="1295401"/>
            <a:ext cx="11193569" cy="49911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414840" y="181941"/>
            <a:ext cx="9654396" cy="782031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0" lvl="0"/>
            <a:r>
              <a:rPr lang="de-DE"/>
              <a:t>Mastertitelformat bearbeiten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10069237" y="6617933"/>
            <a:ext cx="392377" cy="108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ctr">
              <a:defRPr sz="7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0" indent="0" algn="ctr">
              <a:defRPr sz="700">
                <a:solidFill>
                  <a:schemeClr val="accent2"/>
                </a:solidFill>
              </a:defRPr>
            </a:lvl2pPr>
            <a:lvl3pPr marL="0" indent="0" algn="ctr">
              <a:defRPr sz="700">
                <a:solidFill>
                  <a:schemeClr val="accent2"/>
                </a:solidFill>
              </a:defRPr>
            </a:lvl3pPr>
            <a:lvl4pPr marL="0" indent="0" algn="ctr">
              <a:defRPr sz="700">
                <a:solidFill>
                  <a:schemeClr val="accent2"/>
                </a:solidFill>
              </a:defRPr>
            </a:lvl4pPr>
            <a:lvl5pPr marL="0" indent="0" algn="ctr">
              <a:defRPr sz="700">
                <a:solidFill>
                  <a:schemeClr val="accent2"/>
                </a:solidFill>
              </a:defRPr>
            </a:lvl5pPr>
            <a:lvl6pPr marL="0" indent="0" algn="ctr">
              <a:defRPr sz="700">
                <a:solidFill>
                  <a:schemeClr val="accent2"/>
                </a:solidFill>
              </a:defRPr>
            </a:lvl6pPr>
            <a:lvl7pPr marL="0" indent="0" algn="ctr">
              <a:defRPr sz="700">
                <a:solidFill>
                  <a:schemeClr val="accent2"/>
                </a:solidFill>
              </a:defRPr>
            </a:lvl7pPr>
            <a:lvl8pPr marL="0" indent="0" algn="ctr">
              <a:defRPr sz="700">
                <a:solidFill>
                  <a:schemeClr val="accent2"/>
                </a:solidFill>
              </a:defRPr>
            </a:lvl8pPr>
            <a:lvl9pPr marL="0" indent="0" algn="ctr">
              <a:defRPr sz="700">
                <a:solidFill>
                  <a:schemeClr val="accent2"/>
                </a:solidFill>
              </a:defRPr>
            </a:lvl9pPr>
          </a:lstStyle>
          <a:p>
            <a:fld id="{EEAD9179-7A6B-4268-BEB2-F3B8EB06115B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F2DBAA3-EF1F-4E1D-A7A0-1323AF4D9F4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12594" y="6476517"/>
            <a:ext cx="9556643" cy="32067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9" name="Rectangle 15">
            <a:extLst>
              <a:ext uri="{FF2B5EF4-FFF2-40B4-BE49-F238E27FC236}">
                <a16:creationId xmlns:a16="http://schemas.microsoft.com/office/drawing/2014/main" id="{67280B11-E027-45CE-8135-75AA9DC34D0D}"/>
              </a:ext>
            </a:extLst>
          </p:cNvPr>
          <p:cNvSpPr/>
          <p:nvPr userDrawn="1"/>
        </p:nvSpPr>
        <p:spPr>
          <a:xfrm>
            <a:off x="1" y="5573486"/>
            <a:ext cx="6369699" cy="1284514"/>
          </a:xfrm>
          <a:prstGeom prst="rect">
            <a:avLst/>
          </a:prstGeom>
          <a:solidFill>
            <a:schemeClr val="bg1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pic>
        <p:nvPicPr>
          <p:cNvPr id="4" name="Picture 2" descr="Logo&#10;&#10;Description automatically generated">
            <a:extLst>
              <a:ext uri="{FF2B5EF4-FFF2-40B4-BE49-F238E27FC236}">
                <a16:creationId xmlns:a16="http://schemas.microsoft.com/office/drawing/2014/main" id="{EBB63EF4-1659-D8ED-B7C9-3BFC5326302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9"/>
          <a:srcRect r="34159"/>
          <a:stretch/>
        </p:blipFill>
        <p:spPr>
          <a:xfrm>
            <a:off x="8720745" y="113080"/>
            <a:ext cx="1544680" cy="9168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019237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2" r:id="rId1"/>
    <p:sldLayoutId id="2147483753" r:id="rId2"/>
    <p:sldLayoutId id="2147483754" r:id="rId3"/>
    <p:sldLayoutId id="2147483755" r:id="rId4"/>
    <p:sldLayoutId id="2147483756" r:id="rId5"/>
    <p:sldLayoutId id="2147483757" r:id="rId6"/>
    <p:sldLayoutId id="2147483758" r:id="rId7"/>
    <p:sldLayoutId id="2147483759" r:id="rId8"/>
    <p:sldLayoutId id="2147483760" r:id="rId9"/>
    <p:sldLayoutId id="2147483761" r:id="rId10"/>
    <p:sldLayoutId id="2147483762" r:id="rId11"/>
    <p:sldLayoutId id="2147483763" r:id="rId12"/>
    <p:sldLayoutId id="2147483764" r:id="rId13"/>
    <p:sldLayoutId id="2147483765" r:id="rId14"/>
    <p:sldLayoutId id="2147483766" r:id="rId15"/>
    <p:sldLayoutId id="2147483767" r:id="rId16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  <p:txStyles>
    <p:titleStyle>
      <a:lvl1pPr algn="l" defTabSz="914309" rtl="0" eaLnBrk="1" latinLnBrk="0" hangingPunct="1">
        <a:spcBef>
          <a:spcPct val="0"/>
        </a:spcBef>
        <a:buNone/>
        <a:defRPr lang="en-US" sz="2400" b="1" kern="1200" cap="none" baseline="0" dirty="0">
          <a:solidFill>
            <a:schemeClr val="bg1"/>
          </a:solidFill>
          <a:latin typeface="+mn-lt"/>
          <a:ea typeface="+mn-ea"/>
          <a:cs typeface="Futura" panose="020B0602020204020303" pitchFamily="34" charset="-79"/>
        </a:defRPr>
      </a:lvl1pPr>
    </p:titleStyle>
    <p:bodyStyle>
      <a:lvl1pPr marL="0" indent="0" algn="l" defTabSz="914309" rtl="0" eaLnBrk="1" latinLnBrk="0" hangingPunct="1">
        <a:spcBef>
          <a:spcPts val="1200"/>
        </a:spcBef>
        <a:spcAft>
          <a:spcPts val="600"/>
        </a:spcAft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269973" indent="-269973" algn="l" defTabSz="914309" rtl="0" eaLnBrk="1" latinLnBrk="0" hangingPunct="1">
        <a:spcBef>
          <a:spcPts val="300"/>
        </a:spcBef>
        <a:spcAft>
          <a:spcPts val="600"/>
        </a:spcAft>
        <a:buFontTx/>
        <a:buBlip>
          <a:blip r:embed="rId20"/>
        </a:buBlip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539946" indent="-269973" algn="l" defTabSz="914309" rtl="0" eaLnBrk="1" latinLnBrk="0" hangingPunct="1">
        <a:spcBef>
          <a:spcPts val="300"/>
        </a:spcBef>
        <a:spcAft>
          <a:spcPts val="600"/>
        </a:spcAft>
        <a:buFontTx/>
        <a:buBlip>
          <a:blip r:embed="rId21"/>
        </a:buBlip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809919" indent="-269973" algn="l" defTabSz="914309" rtl="0" eaLnBrk="1" latinLnBrk="0" hangingPunct="1">
        <a:spcBef>
          <a:spcPts val="300"/>
        </a:spcBef>
        <a:spcAft>
          <a:spcPts val="600"/>
        </a:spcAft>
        <a:buFontTx/>
        <a:buBlip>
          <a:blip r:embed="rId22"/>
        </a:buBlip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079892" indent="-269973" algn="l" defTabSz="914309" rtl="0" eaLnBrk="1" latinLnBrk="0" hangingPunct="1">
        <a:spcBef>
          <a:spcPts val="300"/>
        </a:spcBef>
        <a:spcAft>
          <a:spcPts val="600"/>
        </a:spcAft>
        <a:buFontTx/>
        <a:buBlip>
          <a:blip r:embed="rId23"/>
        </a:buBlip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1079892" indent="-269973" algn="l" defTabSz="914309" rtl="0" eaLnBrk="1" latinLnBrk="0" hangingPunct="1">
        <a:spcBef>
          <a:spcPts val="300"/>
        </a:spcBef>
        <a:spcAft>
          <a:spcPts val="600"/>
        </a:spcAft>
        <a:buFontTx/>
        <a:buBlip>
          <a:blip r:embed="rId23"/>
        </a:buBlip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1079892" indent="-269973" algn="l" defTabSz="914309" rtl="0" eaLnBrk="1" latinLnBrk="0" hangingPunct="1">
        <a:spcBef>
          <a:spcPts val="300"/>
        </a:spcBef>
        <a:spcAft>
          <a:spcPts val="600"/>
        </a:spcAft>
        <a:buFontTx/>
        <a:buBlip>
          <a:blip r:embed="rId23"/>
        </a:buBlip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1079892" indent="-269973" algn="l" defTabSz="914309" rtl="0" eaLnBrk="1" latinLnBrk="0" hangingPunct="1">
        <a:spcBef>
          <a:spcPts val="300"/>
        </a:spcBef>
        <a:spcAft>
          <a:spcPts val="600"/>
        </a:spcAft>
        <a:buFontTx/>
        <a:buBlip>
          <a:blip r:embed="rId23"/>
        </a:buBlip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1079892" indent="-269973" algn="l" defTabSz="914309" rtl="0" eaLnBrk="1" latinLnBrk="0" hangingPunct="1">
        <a:spcBef>
          <a:spcPts val="300"/>
        </a:spcBef>
        <a:spcAft>
          <a:spcPts val="600"/>
        </a:spcAft>
        <a:buFontTx/>
        <a:buBlip>
          <a:blip r:embed="rId23"/>
        </a:buBlip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54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09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63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17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71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26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80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234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816">
          <p15:clr>
            <a:srgbClr val="F26B43"/>
          </p15:clr>
        </p15:guide>
        <p15:guide id="6" pos="7422">
          <p15:clr>
            <a:srgbClr val="F26B43"/>
          </p15:clr>
        </p15:guide>
        <p15:guide id="7" pos="2376">
          <p15:clr>
            <a:srgbClr val="F26B43"/>
          </p15:clr>
        </p15:guide>
        <p15:guide id="8" pos="312">
          <p15:clr>
            <a:srgbClr val="F26B43"/>
          </p15:clr>
        </p15:guide>
        <p15:guide id="9" pos="619">
          <p15:clr>
            <a:srgbClr val="F26B43"/>
          </p15:clr>
        </p15:guide>
        <p15:guide id="10" orient="horz" pos="2478">
          <p15:clr>
            <a:srgbClr val="F26B43"/>
          </p15:clr>
        </p15:guide>
        <p15:guide id="11" orient="horz" pos="2592">
          <p15:clr>
            <a:srgbClr val="F26B43"/>
          </p15:clr>
        </p15:guide>
        <p15:guide id="12" orient="horz" pos="3960">
          <p15:clr>
            <a:srgbClr val="F26B43"/>
          </p15:clr>
        </p15:guide>
        <p15:guide id="16" orient="horz" pos="2704">
          <p15:clr>
            <a:srgbClr val="F26B43"/>
          </p15:clr>
        </p15:guide>
        <p15:guide id="17" pos="5120">
          <p15:clr>
            <a:srgbClr val="F26B43"/>
          </p15:clr>
        </p15:guide>
        <p15:guide id="18" pos="399">
          <p15:clr>
            <a:srgbClr val="F26B43"/>
          </p15:clr>
        </p15:guide>
        <p15:guide id="19" pos="12955">
          <p15:clr>
            <a:srgbClr val="F26B43"/>
          </p15:clr>
        </p15:guide>
        <p15:guide id="20" pos="13036">
          <p15:clr>
            <a:srgbClr val="F26B43"/>
          </p15:clr>
        </p15:guide>
        <p15:guide id="21" pos="9844">
          <p15:clr>
            <a:srgbClr val="F26B43"/>
          </p15:clr>
        </p15:guide>
        <p15:guide id="22" orient="horz" pos="807">
          <p15:clr>
            <a:srgbClr val="F26B43"/>
          </p15:clr>
        </p15:guide>
        <p15:guide id="23" orient="horz" pos="2160">
          <p15:clr>
            <a:srgbClr val="F26B43"/>
          </p15:clr>
        </p15:guide>
        <p15:guide id="24" orient="horz" pos="4148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4E4D992-CF52-4611-B45D-0EC950D0D631}" type="datetimeFigureOut">
              <a:rPr lang="en-US" smtClean="0"/>
              <a:t>10/23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99E73CC-E55D-494F-9A9F-5CD3573F4A61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31318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9" r:id="rId1"/>
    <p:sldLayoutId id="2147483770" r:id="rId2"/>
    <p:sldLayoutId id="2147483771" r:id="rId3"/>
    <p:sldLayoutId id="2147483772" r:id="rId4"/>
    <p:sldLayoutId id="2147483773" r:id="rId5"/>
    <p:sldLayoutId id="2147483774" r:id="rId6"/>
    <p:sldLayoutId id="2147483775" r:id="rId7"/>
    <p:sldLayoutId id="2147483776" r:id="rId8"/>
    <p:sldLayoutId id="2147483777" r:id="rId9"/>
    <p:sldLayoutId id="2147483778" r:id="rId10"/>
    <p:sldLayoutId id="214748377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image" Target="../media/image15.png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14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4.xml"/><Relationship Id="rId7" Type="http://schemas.openxmlformats.org/officeDocument/2006/relationships/image" Target="../media/image16.png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hyperlink" Target="https://pubmed.ncbi.nlm.nih.gov/39426080/" TargetMode="External"/><Relationship Id="rId5" Type="http://schemas.openxmlformats.org/officeDocument/2006/relationships/image" Target="../media/image15.png"/><Relationship Id="rId4" Type="http://schemas.openxmlformats.org/officeDocument/2006/relationships/notesSlide" Target="../notesSlides/notesSlide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hyperlink" Target="http://www.swissmedicinfo.ch/" TargetMode="External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32.xml"/><Relationship Id="rId5" Type="http://schemas.openxmlformats.org/officeDocument/2006/relationships/hyperlink" Target="http://www.bayer.com/" TargetMode="External"/><Relationship Id="rId4" Type="http://schemas.openxmlformats.org/officeDocument/2006/relationships/image" Target="../media/image15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B795E12-1E45-68CA-6787-CFD1115431F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2171E19-310D-9C3B-8978-5FCC20C6AC2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4497" y="196276"/>
            <a:ext cx="10799866" cy="782031"/>
          </a:xfrm>
        </p:spPr>
        <p:txBody>
          <a:bodyPr>
            <a:normAutofit/>
          </a:bodyPr>
          <a:lstStyle/>
          <a:p>
            <a:r>
              <a:rPr lang="it-IT" sz="2400" cap="none"/>
              <a:t>Interazioni farmacologiche degli ARPI con medicamenti </a:t>
            </a:r>
            <a:br>
              <a:rPr lang="it-IT" sz="2400" cap="none"/>
            </a:br>
            <a:r>
              <a:rPr lang="it-IT" sz="2400" cap="none"/>
              <a:t>concomitanti di rilevanza clinica</a:t>
            </a:r>
            <a:r>
              <a:rPr lang="de-CH" sz="2400" cap="none"/>
              <a:t>*</a:t>
            </a:r>
            <a:endParaRPr lang="de-CH" sz="2400" cap="none" baseline="30000" dirty="0"/>
          </a:p>
        </p:txBody>
      </p:sp>
      <p:graphicFrame>
        <p:nvGraphicFramePr>
          <p:cNvPr id="5" name="Table 9">
            <a:extLst>
              <a:ext uri="{FF2B5EF4-FFF2-40B4-BE49-F238E27FC236}">
                <a16:creationId xmlns:a16="http://schemas.microsoft.com/office/drawing/2014/main" id="{5EBCFE21-5807-7602-479A-A6B62CD0BF81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88480500"/>
              </p:ext>
            </p:extLst>
          </p:nvPr>
        </p:nvGraphicFramePr>
        <p:xfrm>
          <a:off x="187412" y="1233147"/>
          <a:ext cx="5503652" cy="5480303"/>
        </p:xfrm>
        <a:graphic>
          <a:graphicData uri="http://schemas.openxmlformats.org/drawingml/2006/table">
            <a:tbl>
              <a:tblPr firstRow="1" bandRow="1"/>
              <a:tblGrid>
                <a:gridCol w="1598987">
                  <a:extLst>
                    <a:ext uri="{9D8B030D-6E8A-4147-A177-3AD203B41FA5}">
                      <a16:colId xmlns:a16="http://schemas.microsoft.com/office/drawing/2014/main" val="851948152"/>
                    </a:ext>
                  </a:extLst>
                </a:gridCol>
                <a:gridCol w="1521332">
                  <a:extLst>
                    <a:ext uri="{9D8B030D-6E8A-4147-A177-3AD203B41FA5}">
                      <a16:colId xmlns:a16="http://schemas.microsoft.com/office/drawing/2014/main" val="701096665"/>
                    </a:ext>
                  </a:extLst>
                </a:gridCol>
                <a:gridCol w="599751">
                  <a:extLst>
                    <a:ext uri="{9D8B030D-6E8A-4147-A177-3AD203B41FA5}">
                      <a16:colId xmlns:a16="http://schemas.microsoft.com/office/drawing/2014/main" val="939599150"/>
                    </a:ext>
                  </a:extLst>
                </a:gridCol>
                <a:gridCol w="593136">
                  <a:extLst>
                    <a:ext uri="{9D8B030D-6E8A-4147-A177-3AD203B41FA5}">
                      <a16:colId xmlns:a16="http://schemas.microsoft.com/office/drawing/2014/main" val="3884805216"/>
                    </a:ext>
                  </a:extLst>
                </a:gridCol>
                <a:gridCol w="612476">
                  <a:extLst>
                    <a:ext uri="{9D8B030D-6E8A-4147-A177-3AD203B41FA5}">
                      <a16:colId xmlns:a16="http://schemas.microsoft.com/office/drawing/2014/main" val="1779836527"/>
                    </a:ext>
                  </a:extLst>
                </a:gridCol>
                <a:gridCol w="577970">
                  <a:extLst>
                    <a:ext uri="{9D8B030D-6E8A-4147-A177-3AD203B41FA5}">
                      <a16:colId xmlns:a16="http://schemas.microsoft.com/office/drawing/2014/main" val="891477470"/>
                    </a:ext>
                  </a:extLst>
                </a:gridCol>
              </a:tblGrid>
              <a:tr h="288437">
                <a:tc rowSpan="2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ctr" fontAlgn="ctr"/>
                      <a:r>
                        <a:rPr lang="en-GB" sz="1100" b="0" u="none" strike="noStrike">
                          <a:solidFill>
                            <a:schemeClr val="bg1"/>
                          </a:solidFill>
                          <a:effectLst/>
                        </a:rPr>
                        <a:t>Classe</a:t>
                      </a:r>
                    </a:p>
                    <a:p>
                      <a:pPr algn="ctr" fontAlgn="ctr"/>
                      <a:r>
                        <a:rPr lang="en-GB" sz="1100" b="0" u="none" strike="noStrike">
                          <a:solidFill>
                            <a:schemeClr val="bg1"/>
                          </a:solidFill>
                          <a:effectLst/>
                        </a:rPr>
                        <a:t>di principi</a:t>
                      </a:r>
                    </a:p>
                    <a:p>
                      <a:pPr algn="ctr" fontAlgn="ctr"/>
                      <a:r>
                        <a:rPr lang="en-GB" sz="1100" b="0" u="none" strike="noStrike">
                          <a:solidFill>
                            <a:schemeClr val="bg1"/>
                          </a:solidFill>
                          <a:effectLst/>
                        </a:rPr>
                        <a:t>attivi</a:t>
                      </a:r>
                      <a:endParaRPr lang="en-GB" sz="1100" b="0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384F"/>
                    </a:solidFill>
                  </a:tcPr>
                </a:tc>
                <a:tc rowSpan="2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ctr" fontAlgn="ctr"/>
                      <a:r>
                        <a:rPr lang="en-GB" sz="1100" b="0" u="none" strike="noStrike">
                          <a:solidFill>
                            <a:schemeClr val="bg1"/>
                          </a:solidFill>
                          <a:effectLst/>
                        </a:rPr>
                        <a:t>Principio</a:t>
                      </a:r>
                    </a:p>
                    <a:p>
                      <a:pPr algn="ctr" fontAlgn="ctr"/>
                      <a:r>
                        <a:rPr lang="en-GB" sz="1100" b="0" u="none" strike="noStrike">
                          <a:solidFill>
                            <a:schemeClr val="bg1"/>
                          </a:solidFill>
                          <a:effectLst/>
                        </a:rPr>
                        <a:t>attivo</a:t>
                      </a:r>
                      <a:endParaRPr lang="en-GB" sz="1100" b="0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384F"/>
                    </a:solidFill>
                  </a:tcPr>
                </a:tc>
                <a:tc gridSpan="4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ctr" fontAlgn="b"/>
                      <a:r>
                        <a:rPr lang="en-GB" sz="1100" b="0" u="none" strike="noStrike">
                          <a:solidFill>
                            <a:schemeClr val="bg1"/>
                          </a:solidFill>
                          <a:effectLst/>
                        </a:rPr>
                        <a:t>Interazioni</a:t>
                      </a:r>
                      <a:endParaRPr lang="en-GB" sz="1100" b="0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384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03413041"/>
                  </a:ext>
                </a:extLst>
              </a:tr>
              <a:tr h="288437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ctr" fontAlgn="b"/>
                      <a:r>
                        <a:rPr lang="en-GB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DARO </a:t>
                      </a:r>
                    </a:p>
                    <a:p>
                      <a:pPr algn="ctr" fontAlgn="b"/>
                      <a:r>
                        <a:rPr lang="en-GB" sz="600" b="0" u="none" strike="noStrike">
                          <a:solidFill>
                            <a:srgbClr val="000000"/>
                          </a:solidFill>
                          <a:effectLst/>
                        </a:rPr>
                        <a:t>[</a:t>
                      </a:r>
                      <a:r>
                        <a:rPr lang="en-GB" sz="600" b="0" u="none" strike="noStrike" baseline="0">
                          <a:solidFill>
                            <a:srgbClr val="000000"/>
                          </a:solidFill>
                          <a:effectLst/>
                        </a:rPr>
                        <a:t>1,6]</a:t>
                      </a:r>
                      <a:endParaRPr lang="en-GB" sz="800" b="0" i="0" u="none" strike="noStrike" baseline="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ctr" fontAlgn="b"/>
                      <a:r>
                        <a:rPr lang="en-GB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ABI </a:t>
                      </a:r>
                    </a:p>
                    <a:p>
                      <a:pPr algn="ctr" fontAlgn="b"/>
                      <a:r>
                        <a:rPr lang="en-GB" sz="600" b="0" u="none" strike="noStrike">
                          <a:solidFill>
                            <a:srgbClr val="000000"/>
                          </a:solidFill>
                          <a:effectLst/>
                        </a:rPr>
                        <a:t>[2,6]</a:t>
                      </a:r>
                      <a:endParaRPr lang="en-GB" sz="1100" b="0" i="0" u="none" strike="noStrike" baseline="300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ctr" fontAlgn="b"/>
                      <a:r>
                        <a:rPr lang="en-GB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APA </a:t>
                      </a:r>
                    </a:p>
                    <a:p>
                      <a:pPr algn="ctr" fontAlgn="b"/>
                      <a:r>
                        <a:rPr lang="en-GB" sz="600" b="0" u="none" strike="noStrike">
                          <a:solidFill>
                            <a:srgbClr val="000000"/>
                          </a:solidFill>
                          <a:effectLst/>
                        </a:rPr>
                        <a:t>[3,6]</a:t>
                      </a:r>
                      <a:endParaRPr lang="en-GB" sz="800" b="0" i="0" u="none" strike="noStrike" baseline="300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ctr" fontAlgn="b"/>
                      <a:r>
                        <a:rPr lang="en-GB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ENZA </a:t>
                      </a:r>
                    </a:p>
                    <a:p>
                      <a:pPr algn="ctr" fontAlgn="b"/>
                      <a:r>
                        <a:rPr lang="en-GB" sz="600" b="0" u="none" strike="noStrike">
                          <a:solidFill>
                            <a:srgbClr val="000000"/>
                          </a:solidFill>
                          <a:effectLst/>
                        </a:rPr>
                        <a:t>[4,6]</a:t>
                      </a:r>
                      <a:endParaRPr lang="en-GB" sz="600" b="0" i="0" u="none" strike="noStrike" baseline="300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14579545"/>
                  </a:ext>
                </a:extLst>
              </a:tr>
              <a:tr h="288437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ctr" fontAlgn="ctr"/>
                      <a:r>
                        <a:rPr lang="en-GB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ADT</a:t>
                      </a:r>
                      <a:endParaRPr lang="en-GB" sz="1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Relugolix</a:t>
                      </a:r>
                      <a:r>
                        <a:rPr lang="en-GB" sz="1000" b="0" i="0" u="none" strike="noStrike" baseline="300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</a:t>
                      </a:r>
                      <a:endParaRPr lang="en-GB" sz="1000" b="0" i="0" u="none" strike="noStrike" baseline="3000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287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endParaRPr lang="en-GB" sz="1100" b="0" i="0" u="none" strike="noStrike" dirty="0">
                        <a:solidFill>
                          <a:srgbClr val="00B05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00615900"/>
                  </a:ext>
                </a:extLst>
              </a:tr>
              <a:tr h="288437">
                <a:tc rowSpan="4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ctr" fontAlgn="ctr"/>
                      <a:r>
                        <a:rPr lang="en-GB" sz="1000" b="1" u="none" strike="noStrike">
                          <a:solidFill>
                            <a:srgbClr val="000000"/>
                          </a:solidFill>
                          <a:effectLst/>
                        </a:rPr>
                        <a:t>Anticoagulanti</a:t>
                      </a:r>
                      <a:endParaRPr lang="en-GB" sz="1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2E8F6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0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Apixaban</a:t>
                      </a: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287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2E8F6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100" b="0" u="none" strike="noStrike" dirty="0">
                          <a:solidFill>
                            <a:srgbClr val="00B050"/>
                          </a:solidFill>
                          <a:effectLst/>
                        </a:rPr>
                        <a:t> </a:t>
                      </a:r>
                      <a:endParaRPr lang="en-GB" sz="1100" b="0" i="0" u="none" strike="noStrike" dirty="0">
                        <a:solidFill>
                          <a:srgbClr val="00B05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 </a:t>
                      </a:r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 </a:t>
                      </a:r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 </a:t>
                      </a:r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18558112"/>
                  </a:ext>
                </a:extLst>
              </a:tr>
              <a:tr h="288437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0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Dabigatran</a:t>
                      </a: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287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2E8F6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100" b="0" u="none" strike="noStrike" dirty="0">
                          <a:solidFill>
                            <a:srgbClr val="00B050"/>
                          </a:solidFill>
                          <a:effectLst/>
                        </a:rPr>
                        <a:t> </a:t>
                      </a:r>
                      <a:endParaRPr lang="en-GB" sz="1100" b="0" i="0" u="none" strike="noStrike" dirty="0">
                        <a:solidFill>
                          <a:srgbClr val="00B05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 </a:t>
                      </a:r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 </a:t>
                      </a:r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 </a:t>
                      </a:r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29783773"/>
                  </a:ext>
                </a:extLst>
              </a:tr>
              <a:tr h="288437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000" b="0" u="none" strike="noStrike" dirty="0" err="1">
                          <a:solidFill>
                            <a:srgbClr val="000000"/>
                          </a:solidFill>
                          <a:effectLst/>
                        </a:rPr>
                        <a:t>Edoxaban</a:t>
                      </a: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287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2E8F6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100" b="0" u="none" strike="noStrike" dirty="0">
                          <a:solidFill>
                            <a:srgbClr val="00B050"/>
                          </a:solidFill>
                          <a:effectLst/>
                        </a:rPr>
                        <a:t> </a:t>
                      </a:r>
                      <a:endParaRPr lang="en-GB" sz="1100" b="0" i="0" u="none" strike="noStrike" dirty="0">
                        <a:solidFill>
                          <a:srgbClr val="00B05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 </a:t>
                      </a:r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 </a:t>
                      </a:r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 </a:t>
                      </a:r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04914304"/>
                  </a:ext>
                </a:extLst>
              </a:tr>
              <a:tr h="288437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0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Rivaroxaban</a:t>
                      </a: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287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2E8F6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100" b="0" u="none" strike="noStrike" dirty="0">
                          <a:solidFill>
                            <a:srgbClr val="00B050"/>
                          </a:solidFill>
                          <a:effectLst/>
                        </a:rPr>
                        <a:t> </a:t>
                      </a:r>
                      <a:endParaRPr lang="en-GB" sz="1100" b="0" i="0" u="none" strike="noStrike" dirty="0">
                        <a:solidFill>
                          <a:srgbClr val="00B05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 </a:t>
                      </a:r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 </a:t>
                      </a:r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 </a:t>
                      </a:r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1178053"/>
                  </a:ext>
                </a:extLst>
              </a:tr>
              <a:tr h="288437"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ctr" fontAlgn="ctr"/>
                      <a:r>
                        <a:rPr lang="en-GB" sz="1000" b="1" u="none" strike="noStrike">
                          <a:solidFill>
                            <a:srgbClr val="000000"/>
                          </a:solidFill>
                          <a:effectLst/>
                        </a:rPr>
                        <a:t>Antiaggreganti</a:t>
                      </a:r>
                    </a:p>
                    <a:p>
                      <a:pPr algn="ctr" fontAlgn="ctr"/>
                      <a:r>
                        <a:rPr lang="en-GB" sz="1000" b="1" u="none" strike="noStrike">
                          <a:solidFill>
                            <a:srgbClr val="000000"/>
                          </a:solidFill>
                          <a:effectLst/>
                        </a:rPr>
                        <a:t>piastrinici</a:t>
                      </a:r>
                      <a:endParaRPr lang="en-GB" sz="1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0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Clopidogrel</a:t>
                      </a: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287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100" b="0" u="none" strike="noStrike" dirty="0">
                          <a:solidFill>
                            <a:srgbClr val="00B050"/>
                          </a:solidFill>
                          <a:effectLst/>
                        </a:rPr>
                        <a:t> </a:t>
                      </a:r>
                      <a:endParaRPr lang="en-GB" sz="1100" b="0" i="0" u="none" strike="noStrike" dirty="0">
                        <a:solidFill>
                          <a:srgbClr val="00B05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 </a:t>
                      </a:r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 </a:t>
                      </a:r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 </a:t>
                      </a:r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59312638"/>
                  </a:ext>
                </a:extLst>
              </a:tr>
              <a:tr h="288437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0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Prasugrel</a:t>
                      </a: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287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100" b="0" u="none" strike="noStrike" dirty="0">
                          <a:solidFill>
                            <a:srgbClr val="00B050"/>
                          </a:solidFill>
                          <a:effectLst/>
                        </a:rPr>
                        <a:t> </a:t>
                      </a:r>
                      <a:endParaRPr lang="en-GB" sz="1100" b="0" i="0" u="none" strike="noStrike" dirty="0">
                        <a:solidFill>
                          <a:srgbClr val="00B05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 </a:t>
                      </a:r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 </a:t>
                      </a:r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 </a:t>
                      </a:r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11971437"/>
                  </a:ext>
                </a:extLst>
              </a:tr>
              <a:tr h="288437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0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Ticagrelor</a:t>
                      </a: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287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100" b="0" u="none" strike="noStrike" dirty="0">
                          <a:solidFill>
                            <a:srgbClr val="00B050"/>
                          </a:solidFill>
                          <a:effectLst/>
                        </a:rPr>
                        <a:t> </a:t>
                      </a:r>
                      <a:endParaRPr lang="en-GB" sz="1100" b="0" i="0" u="none" strike="noStrike" dirty="0">
                        <a:solidFill>
                          <a:srgbClr val="00B05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 </a:t>
                      </a:r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 </a:t>
                      </a:r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 </a:t>
                      </a:r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68815347"/>
                  </a:ext>
                </a:extLst>
              </a:tr>
              <a:tr h="288437">
                <a:tc rowSpan="4">
                  <a:txBody>
                    <a:bodyPr/>
                    <a:lstStyle/>
                    <a:p>
                      <a:pPr algn="ctr" fontAlgn="ctr"/>
                      <a:r>
                        <a:rPr lang="en-GB" sz="1000" b="1" u="none" strike="noStrike">
                          <a:solidFill>
                            <a:srgbClr val="000000"/>
                          </a:solidFill>
                          <a:effectLst/>
                        </a:rPr>
                        <a:t>Beta-bloccanti</a:t>
                      </a:r>
                      <a:endParaRPr lang="en-GB" sz="1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2E8F6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Bisoprololo </a:t>
                      </a: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287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2E8F6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1100" b="0" i="0" u="none" strike="noStrike" dirty="0">
                        <a:solidFill>
                          <a:srgbClr val="00B05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34650511"/>
                  </a:ext>
                </a:extLst>
              </a:tr>
              <a:tr h="288437">
                <a:tc vMerge="1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endParaRPr/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2E8F6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000" b="0" u="none" strike="noStrike">
                          <a:solidFill>
                            <a:srgbClr val="000000"/>
                          </a:solidFill>
                          <a:effectLst/>
                        </a:rPr>
                        <a:t>Carv</a:t>
                      </a:r>
                      <a:r>
                        <a:rPr lang="de-CH" sz="1000" b="0" u="none" strike="noStrike">
                          <a:solidFill>
                            <a:srgbClr val="000000"/>
                          </a:solidFill>
                          <a:effectLst/>
                        </a:rPr>
                        <a:t>e</a:t>
                      </a:r>
                      <a:r>
                        <a:rPr lang="en-GB" sz="1000" b="0" u="none" strike="noStrike">
                          <a:solidFill>
                            <a:srgbClr val="000000"/>
                          </a:solidFill>
                          <a:effectLst/>
                        </a:rPr>
                        <a:t>dilolo</a:t>
                      </a: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287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2E8F6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100" b="0" u="none" strike="noStrike" dirty="0">
                          <a:solidFill>
                            <a:srgbClr val="00B050"/>
                          </a:solidFill>
                          <a:effectLst/>
                        </a:rPr>
                        <a:t> </a:t>
                      </a:r>
                      <a:endParaRPr lang="en-GB" sz="1100" b="0" i="0" u="none" strike="noStrike" dirty="0">
                        <a:solidFill>
                          <a:srgbClr val="00B05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 </a:t>
                      </a:r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 </a:t>
                      </a:r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 </a:t>
                      </a:r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00915960"/>
                  </a:ext>
                </a:extLst>
              </a:tr>
              <a:tr h="288437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000" b="0" u="none" strike="noStrike">
                          <a:solidFill>
                            <a:srgbClr val="000000"/>
                          </a:solidFill>
                          <a:effectLst/>
                        </a:rPr>
                        <a:t>Metoprololo</a:t>
                      </a: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287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2E8F6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100" b="0" u="none" strike="noStrike" dirty="0">
                          <a:solidFill>
                            <a:srgbClr val="00B050"/>
                          </a:solidFill>
                          <a:effectLst/>
                        </a:rPr>
                        <a:t> </a:t>
                      </a:r>
                      <a:endParaRPr lang="en-GB" sz="1100" b="0" i="0" u="none" strike="noStrike" dirty="0">
                        <a:solidFill>
                          <a:srgbClr val="00B05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 </a:t>
                      </a:r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 </a:t>
                      </a:r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 </a:t>
                      </a:r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86659641"/>
                  </a:ext>
                </a:extLst>
              </a:tr>
              <a:tr h="288437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000" b="0" u="none" strike="noStrike">
                          <a:solidFill>
                            <a:srgbClr val="000000"/>
                          </a:solidFill>
                          <a:effectLst/>
                        </a:rPr>
                        <a:t>Nebivololo</a:t>
                      </a: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287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2E8F6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100" b="0" u="none" strike="noStrike" dirty="0">
                          <a:solidFill>
                            <a:srgbClr val="00B050"/>
                          </a:solidFill>
                          <a:effectLst/>
                        </a:rPr>
                        <a:t> </a:t>
                      </a:r>
                      <a:endParaRPr lang="en-GB" sz="1100" b="0" i="0" u="none" strike="noStrike" dirty="0">
                        <a:solidFill>
                          <a:srgbClr val="00B05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 </a:t>
                      </a:r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 </a:t>
                      </a:r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 </a:t>
                      </a:r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4070684"/>
                  </a:ext>
                </a:extLst>
              </a:tr>
              <a:tr h="288437">
                <a:tc rowSpan="5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ctr" fontAlgn="ctr"/>
                      <a:r>
                        <a:rPr lang="en-GB" sz="1000" b="1" u="none" strike="noStrike">
                          <a:solidFill>
                            <a:srgbClr val="000000"/>
                          </a:solidFill>
                          <a:effectLst/>
                        </a:rPr>
                        <a:t>Antinfettivi</a:t>
                      </a:r>
                      <a:endParaRPr lang="en-GB" sz="1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000" b="0" u="none" strike="noStrike">
                          <a:solidFill>
                            <a:srgbClr val="000000"/>
                          </a:solidFill>
                          <a:effectLst/>
                        </a:rPr>
                        <a:t>Ciprofloxacina</a:t>
                      </a: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287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100" b="0" u="none" strike="noStrike" dirty="0">
                          <a:solidFill>
                            <a:srgbClr val="00B050"/>
                          </a:solidFill>
                          <a:effectLst/>
                        </a:rPr>
                        <a:t> </a:t>
                      </a:r>
                      <a:endParaRPr lang="en-GB" sz="1100" b="0" i="0" u="none" strike="noStrike" dirty="0">
                        <a:solidFill>
                          <a:srgbClr val="00B05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 </a:t>
                      </a:r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 </a:t>
                      </a:r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 </a:t>
                      </a:r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65712857"/>
                  </a:ext>
                </a:extLst>
              </a:tr>
              <a:tr h="288437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000" b="0" u="none" strike="noStrike">
                          <a:solidFill>
                            <a:srgbClr val="000000"/>
                          </a:solidFill>
                          <a:effectLst/>
                        </a:rPr>
                        <a:t>Clarithromycina</a:t>
                      </a: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287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 </a:t>
                      </a:r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 </a:t>
                      </a:r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 </a:t>
                      </a:r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 </a:t>
                      </a:r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2573388"/>
                  </a:ext>
                </a:extLst>
              </a:tr>
              <a:tr h="288437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000" b="0" u="none" strike="noStrike">
                          <a:solidFill>
                            <a:srgbClr val="000000"/>
                          </a:solidFill>
                          <a:effectLst/>
                        </a:rPr>
                        <a:t>Rifampicina</a:t>
                      </a: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287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 </a:t>
                      </a:r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 </a:t>
                      </a:r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 </a:t>
                      </a:r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 </a:t>
                      </a:r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04990135"/>
                  </a:ext>
                </a:extLst>
              </a:tr>
              <a:tr h="288437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000" b="0" u="none" strike="noStrike">
                          <a:solidFill>
                            <a:srgbClr val="000000"/>
                          </a:solidFill>
                          <a:effectLst/>
                        </a:rPr>
                        <a:t>Fluconazolo</a:t>
                      </a: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287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 </a:t>
                      </a:r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 </a:t>
                      </a:r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 </a:t>
                      </a:r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 </a:t>
                      </a:r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13520324"/>
                  </a:ext>
                </a:extLst>
              </a:tr>
              <a:tr h="288437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000" b="0" u="none" strike="noStrike">
                          <a:solidFill>
                            <a:srgbClr val="000000"/>
                          </a:solidFill>
                          <a:effectLst/>
                        </a:rPr>
                        <a:t>Voriconazolo</a:t>
                      </a: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287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 </a:t>
                      </a:r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 </a:t>
                      </a:r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 </a:t>
                      </a:r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 </a:t>
                      </a:r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76392571"/>
                  </a:ext>
                </a:extLst>
              </a:tr>
            </a:tbl>
          </a:graphicData>
        </a:graphic>
      </p:graphicFrame>
      <p:graphicFrame>
        <p:nvGraphicFramePr>
          <p:cNvPr id="6" name="Table 9">
            <a:extLst>
              <a:ext uri="{FF2B5EF4-FFF2-40B4-BE49-F238E27FC236}">
                <a16:creationId xmlns:a16="http://schemas.microsoft.com/office/drawing/2014/main" id="{2EB61554-BACF-B96C-D45F-544913F1363E}"/>
              </a:ext>
            </a:extLst>
          </p:cNvPr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02722896"/>
              </p:ext>
            </p:extLst>
          </p:nvPr>
        </p:nvGraphicFramePr>
        <p:xfrm>
          <a:off x="5996329" y="1233147"/>
          <a:ext cx="5934003" cy="4038118"/>
        </p:xfrm>
        <a:graphic>
          <a:graphicData uri="http://schemas.openxmlformats.org/drawingml/2006/table">
            <a:tbl>
              <a:tblPr firstRow="1" bandRow="1"/>
              <a:tblGrid>
                <a:gridCol w="1792066">
                  <a:extLst>
                    <a:ext uri="{9D8B030D-6E8A-4147-A177-3AD203B41FA5}">
                      <a16:colId xmlns:a16="http://schemas.microsoft.com/office/drawing/2014/main" val="851948152"/>
                    </a:ext>
                  </a:extLst>
                </a:gridCol>
                <a:gridCol w="1527167">
                  <a:extLst>
                    <a:ext uri="{9D8B030D-6E8A-4147-A177-3AD203B41FA5}">
                      <a16:colId xmlns:a16="http://schemas.microsoft.com/office/drawing/2014/main" val="701096665"/>
                    </a:ext>
                  </a:extLst>
                </a:gridCol>
                <a:gridCol w="678741">
                  <a:extLst>
                    <a:ext uri="{9D8B030D-6E8A-4147-A177-3AD203B41FA5}">
                      <a16:colId xmlns:a16="http://schemas.microsoft.com/office/drawing/2014/main" val="939599150"/>
                    </a:ext>
                  </a:extLst>
                </a:gridCol>
                <a:gridCol w="612751">
                  <a:extLst>
                    <a:ext uri="{9D8B030D-6E8A-4147-A177-3AD203B41FA5}">
                      <a16:colId xmlns:a16="http://schemas.microsoft.com/office/drawing/2014/main" val="3884805216"/>
                    </a:ext>
                  </a:extLst>
                </a:gridCol>
                <a:gridCol w="612751">
                  <a:extLst>
                    <a:ext uri="{9D8B030D-6E8A-4147-A177-3AD203B41FA5}">
                      <a16:colId xmlns:a16="http://schemas.microsoft.com/office/drawing/2014/main" val="1779836527"/>
                    </a:ext>
                  </a:extLst>
                </a:gridCol>
                <a:gridCol w="710527">
                  <a:extLst>
                    <a:ext uri="{9D8B030D-6E8A-4147-A177-3AD203B41FA5}">
                      <a16:colId xmlns:a16="http://schemas.microsoft.com/office/drawing/2014/main" val="891477470"/>
                    </a:ext>
                  </a:extLst>
                </a:gridCol>
              </a:tblGrid>
              <a:tr h="288437">
                <a:tc rowSpan="2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ctr" fontAlgn="ctr"/>
                      <a:r>
                        <a:rPr lang="en-GB" sz="1100" b="0" u="none" strike="noStrike">
                          <a:solidFill>
                            <a:schemeClr val="bg1"/>
                          </a:solidFill>
                          <a:effectLst/>
                        </a:rPr>
                        <a:t>Classe</a:t>
                      </a:r>
                    </a:p>
                    <a:p>
                      <a:pPr algn="ctr" fontAlgn="ctr"/>
                      <a:r>
                        <a:rPr lang="en-GB" sz="1100" b="0" u="none" strike="noStrike">
                          <a:solidFill>
                            <a:schemeClr val="bg1"/>
                          </a:solidFill>
                          <a:effectLst/>
                        </a:rPr>
                        <a:t>di principi</a:t>
                      </a:r>
                    </a:p>
                    <a:p>
                      <a:pPr algn="ctr" fontAlgn="ctr"/>
                      <a:r>
                        <a:rPr lang="en-GB" sz="1100" b="0" u="none" strike="noStrike">
                          <a:solidFill>
                            <a:schemeClr val="bg1"/>
                          </a:solidFill>
                          <a:effectLst/>
                        </a:rPr>
                        <a:t>attivi</a:t>
                      </a:r>
                      <a:endParaRPr lang="en-GB" sz="1100" b="0" u="none" strike="noStrike" dirty="0">
                        <a:solidFill>
                          <a:schemeClr val="bg1"/>
                        </a:solidFill>
                        <a:effectLst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384F"/>
                    </a:solidFill>
                  </a:tcPr>
                </a:tc>
                <a:tc rowSpan="2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ctr" fontAlgn="ctr"/>
                      <a:r>
                        <a:rPr lang="en-GB" sz="1100" b="0" u="none" strike="noStrike">
                          <a:solidFill>
                            <a:schemeClr val="bg1"/>
                          </a:solidFill>
                          <a:effectLst/>
                        </a:rPr>
                        <a:t>Principio</a:t>
                      </a:r>
                    </a:p>
                    <a:p>
                      <a:pPr algn="ctr" fontAlgn="ctr"/>
                      <a:r>
                        <a:rPr lang="en-GB" sz="1100" b="0" u="none" strike="noStrike">
                          <a:solidFill>
                            <a:schemeClr val="bg1"/>
                          </a:solidFill>
                          <a:effectLst/>
                        </a:rPr>
                        <a:t>attivo</a:t>
                      </a:r>
                      <a:endParaRPr lang="en-GB" sz="1100" b="0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384F"/>
                    </a:solidFill>
                  </a:tcPr>
                </a:tc>
                <a:tc gridSpan="4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ctr" fontAlgn="b"/>
                      <a:r>
                        <a:rPr lang="en-GB" sz="1100" b="0" u="none" strike="noStrike">
                          <a:solidFill>
                            <a:schemeClr val="bg1"/>
                          </a:solidFill>
                          <a:effectLst/>
                        </a:rPr>
                        <a:t>Interazioni</a:t>
                      </a:r>
                      <a:endParaRPr lang="en-GB" sz="1100" b="0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384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03413041"/>
                  </a:ext>
                </a:extLst>
              </a:tr>
              <a:tr h="288437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ctr" fontAlgn="b"/>
                      <a:r>
                        <a:rPr lang="en-GB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DARO </a:t>
                      </a:r>
                    </a:p>
                    <a:p>
                      <a:pPr algn="ctr" fontAlgn="b"/>
                      <a:r>
                        <a:rPr lang="en-GB" sz="600" b="0" u="none" strike="noStrike">
                          <a:solidFill>
                            <a:srgbClr val="000000"/>
                          </a:solidFill>
                          <a:effectLst/>
                        </a:rPr>
                        <a:t>[</a:t>
                      </a:r>
                      <a:r>
                        <a:rPr lang="en-GB" sz="600" b="0" u="none" strike="noStrike" baseline="0">
                          <a:solidFill>
                            <a:srgbClr val="000000"/>
                          </a:solidFill>
                          <a:effectLst/>
                        </a:rPr>
                        <a:t>1,6]</a:t>
                      </a:r>
                      <a:endParaRPr lang="en-GB" sz="800" b="0" i="0" u="none" strike="noStrike" baseline="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ctr" fontAlgn="b"/>
                      <a:r>
                        <a:rPr lang="en-GB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ABI </a:t>
                      </a:r>
                    </a:p>
                    <a:p>
                      <a:pPr algn="ctr" fontAlgn="b"/>
                      <a:r>
                        <a:rPr lang="en-GB" sz="600" b="0" u="none" strike="noStrike">
                          <a:solidFill>
                            <a:srgbClr val="000000"/>
                          </a:solidFill>
                          <a:effectLst/>
                        </a:rPr>
                        <a:t>[2,6]</a:t>
                      </a:r>
                      <a:endParaRPr lang="en-GB" sz="1100" b="0" i="0" u="none" strike="noStrike" baseline="300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ctr" fontAlgn="b"/>
                      <a:r>
                        <a:rPr lang="en-GB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APA </a:t>
                      </a:r>
                    </a:p>
                    <a:p>
                      <a:pPr algn="ctr" fontAlgn="b"/>
                      <a:r>
                        <a:rPr lang="en-GB" sz="600" b="0" u="none" strike="noStrike">
                          <a:solidFill>
                            <a:srgbClr val="000000"/>
                          </a:solidFill>
                          <a:effectLst/>
                        </a:rPr>
                        <a:t>[3,6]</a:t>
                      </a:r>
                      <a:endParaRPr lang="en-GB" sz="800" b="0" i="0" u="none" strike="noStrike" baseline="300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ctr" fontAlgn="b"/>
                      <a:r>
                        <a:rPr lang="en-GB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ENZA </a:t>
                      </a:r>
                    </a:p>
                    <a:p>
                      <a:pPr algn="ctr" fontAlgn="b"/>
                      <a:r>
                        <a:rPr lang="en-GB" sz="600" b="0" u="none" strike="noStrike">
                          <a:solidFill>
                            <a:srgbClr val="000000"/>
                          </a:solidFill>
                          <a:effectLst/>
                        </a:rPr>
                        <a:t>[4,6]</a:t>
                      </a:r>
                      <a:endParaRPr lang="en-GB" sz="600" b="0" i="0" u="none" strike="noStrike" baseline="300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14579545"/>
                  </a:ext>
                </a:extLst>
              </a:tr>
              <a:tr h="288437">
                <a:tc rowSpan="5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ctr" fontAlgn="ctr"/>
                      <a:r>
                        <a:rPr lang="en-GB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Ipolipemizzanti</a:t>
                      </a:r>
                      <a:endParaRPr lang="en-GB" sz="1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2E8F6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Gemfibrozil</a:t>
                      </a:r>
                    </a:p>
                  </a:txBody>
                  <a:tcPr marL="14287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2E8F6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18558112"/>
                  </a:ext>
                </a:extLst>
              </a:tr>
              <a:tr h="288437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Atorvastatina</a:t>
                      </a: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287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2E8F6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29783773"/>
                  </a:ext>
                </a:extLst>
              </a:tr>
              <a:tr h="288437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Simvastatina</a:t>
                      </a:r>
                    </a:p>
                  </a:txBody>
                  <a:tcPr marL="14287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2E8F6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04914304"/>
                  </a:ext>
                </a:extLst>
              </a:tr>
              <a:tr h="288437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Rosuvastatina</a:t>
                      </a: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287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2E8F6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1178053"/>
                  </a:ext>
                </a:extLst>
              </a:tr>
              <a:tr h="288437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Ezetimibe</a:t>
                      </a: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287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2E8F6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59312638"/>
                  </a:ext>
                </a:extLst>
              </a:tr>
              <a:tr h="288437">
                <a:tc row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ctr" fontAlgn="ctr"/>
                      <a:r>
                        <a:rPr lang="en-GB" sz="1000" b="1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Antiepilettici</a:t>
                      </a:r>
                      <a:endParaRPr lang="en-GB" sz="1000" b="1" i="0" u="none" strike="noStrike" kern="120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Carbamazepina</a:t>
                      </a: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287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11971437"/>
                  </a:ext>
                </a:extLst>
              </a:tr>
              <a:tr h="288437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Valproato</a:t>
                      </a: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287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68815347"/>
                  </a:ext>
                </a:extLst>
              </a:tr>
              <a:tr h="288437"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ctr" fontAlgn="ctr"/>
                      <a:r>
                        <a:rPr lang="en-GB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Antidepressivi</a:t>
                      </a:r>
                      <a:endParaRPr lang="en-GB" sz="1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2E8F6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Escitalopram</a:t>
                      </a:r>
                    </a:p>
                  </a:txBody>
                  <a:tcPr marL="14287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2E8F6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00915960"/>
                  </a:ext>
                </a:extLst>
              </a:tr>
              <a:tr h="288437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Duloxetina</a:t>
                      </a: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287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2E8F6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86659641"/>
                  </a:ext>
                </a:extLst>
              </a:tr>
              <a:tr h="288437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Venlafaxina</a:t>
                      </a: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287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2E8F6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4070684"/>
                  </a:ext>
                </a:extLst>
              </a:tr>
              <a:tr h="288437">
                <a:tc rowSpan="2"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fr-FR" sz="1000" b="1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Inibitori</a:t>
                      </a:r>
                    </a:p>
                    <a:p>
                      <a:pPr marL="0" algn="ctr" defTabSz="914400" rtl="0" eaLnBrk="1" fontAlgn="ctr" latinLnBrk="0" hangingPunct="1"/>
                      <a:r>
                        <a:rPr lang="fr-FR" sz="1000" b="1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della pompa</a:t>
                      </a:r>
                    </a:p>
                    <a:p>
                      <a:pPr marL="0" algn="ctr" defTabSz="914400" rtl="0" eaLnBrk="1" fontAlgn="ctr" latinLnBrk="0" hangingPunct="1"/>
                      <a:r>
                        <a:rPr lang="fr-FR" sz="1000" b="1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protonica</a:t>
                      </a:r>
                      <a:endParaRPr lang="en-GB" sz="1000" b="1" i="0" u="none" strike="noStrike" kern="120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antoprazolo</a:t>
                      </a: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287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19949041"/>
                  </a:ext>
                </a:extLst>
              </a:tr>
              <a:tr h="288437">
                <a:tc vMerge="1"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GB" sz="1000" b="1" i="0" u="none" strike="noStrike" kern="120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Omeprazolo </a:t>
                      </a: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287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0787784"/>
                  </a:ext>
                </a:extLst>
              </a:tr>
            </a:tbl>
          </a:graphicData>
        </a:graphic>
      </p:graphicFrame>
      <p:pic>
        <p:nvPicPr>
          <p:cNvPr id="3" name="Picture 2">
            <a:extLst>
              <a:ext uri="{FF2B5EF4-FFF2-40B4-BE49-F238E27FC236}">
                <a16:creationId xmlns:a16="http://schemas.microsoft.com/office/drawing/2014/main" id="{0EC14AA3-1187-B516-A497-9608D1E36F1D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1127475" y="6176814"/>
            <a:ext cx="877113" cy="521827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DEB98965-D35E-A21C-EF0B-EB7C543DA671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5996329" y="5526105"/>
            <a:ext cx="4516703" cy="79880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it-IT" sz="800" b="0" i="0" u="none" strike="noStrike" kern="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Verde </a:t>
            </a:r>
            <a:r>
              <a:rPr kumimoji="0" lang="it-IT" sz="800" b="0" i="0" u="none" strike="noStrike" kern="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– </a:t>
            </a:r>
            <a:r>
              <a:rPr kumimoji="0" lang="it-IT" sz="800" b="0" i="0" u="none" strike="noStrike" kern="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nessuna restrizione sulla somministrazione simultanea</a:t>
            </a:r>
            <a:endParaRPr kumimoji="0" lang="it-IT" sz="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it-IT" sz="800" b="0" i="0" u="none" strike="noStrike" kern="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Giallo </a:t>
            </a:r>
            <a:r>
              <a:rPr kumimoji="0" lang="it-IT" sz="800" b="0" i="0" u="none" strike="noStrike" kern="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– </a:t>
            </a:r>
            <a:r>
              <a:rPr kumimoji="0" lang="it-IT" sz="800" b="0" i="0" u="none" strike="noStrike" kern="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con cautela, può essere necessario un aggiustamento della dose</a:t>
            </a:r>
            <a:endParaRPr kumimoji="0" lang="it-IT" sz="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it-IT" sz="800" b="0" i="0" u="none" strike="noStrike" kern="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Ro</a:t>
            </a:r>
            <a:r>
              <a:rPr kumimoji="0" lang="it-IT" sz="800" b="0" i="0" u="none" strike="noStrike" kern="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sso</a:t>
            </a:r>
            <a:r>
              <a:rPr kumimoji="0" lang="it-IT" sz="800" b="0" i="0" u="none" strike="noStrike" kern="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 – Controindicazione / evitare / prendere in considerazione un adeguamento della terapia</a:t>
            </a:r>
            <a:endParaRPr lang="de-DE" sz="800" dirty="0">
              <a:solidFill>
                <a:srgbClr val="000000"/>
              </a:solidFill>
              <a:latin typeface="Arial"/>
              <a:cs typeface="Arial"/>
            </a:endParaRP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it-IT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ADT: Terapia di deprivazione androgenica; ARPI: Androgen Receptor Pathway Inhibitors</a:t>
            </a:r>
            <a:endParaRPr kumimoji="0" lang="it-IT" sz="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it-IT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Daro: Darolutamid; Abi: Abirateron; Apa: Apalutamid; Enza: Enzalutamid</a:t>
            </a:r>
            <a:endParaRPr kumimoji="0" lang="it-IT" sz="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it-IT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*</a:t>
            </a:r>
            <a:r>
              <a:rPr kumimoji="0" lang="it-IT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Le seguenti tabelle elencano i farmaci più comunemente osservati nei pazienti sottoposti a trattamento per il cancro alla prostata; questo elenco non è esaustivo.</a:t>
            </a: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it-IT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Per ulteriori informazioni consultare le informazioni professionali relative al prodotto farmaceutico.</a:t>
            </a:r>
          </a:p>
        </p:txBody>
      </p:sp>
    </p:spTree>
    <p:extLst>
      <p:ext uri="{BB962C8B-B14F-4D97-AF65-F5344CB8AC3E}">
        <p14:creationId xmlns:p14="http://schemas.microsoft.com/office/powerpoint/2010/main" val="38244402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B795E12-1E45-68CA-6787-CFD1115431F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2171E19-310D-9C3B-8978-5FCC20C6AC2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4497" y="196276"/>
            <a:ext cx="10799866" cy="782031"/>
          </a:xfrm>
        </p:spPr>
        <p:txBody>
          <a:bodyPr>
            <a:normAutofit/>
          </a:bodyPr>
          <a:lstStyle/>
          <a:p>
            <a:r>
              <a:rPr lang="it-IT" sz="2400" cap="none"/>
              <a:t>Interazioni farmacologiche degli ARPI con medicamenti </a:t>
            </a:r>
            <a:br>
              <a:rPr lang="it-IT" sz="2400" cap="none"/>
            </a:br>
            <a:r>
              <a:rPr lang="it-IT" sz="2400" cap="none"/>
              <a:t>concomitanti di rilevanza clinica</a:t>
            </a:r>
            <a:r>
              <a:rPr lang="de-CH" sz="2400" cap="none"/>
              <a:t>*</a:t>
            </a:r>
            <a:endParaRPr lang="de-DE" sz="2400" cap="none" baseline="30000"/>
          </a:p>
        </p:txBody>
      </p:sp>
      <p:graphicFrame>
        <p:nvGraphicFramePr>
          <p:cNvPr id="5" name="Table 9">
            <a:extLst>
              <a:ext uri="{FF2B5EF4-FFF2-40B4-BE49-F238E27FC236}">
                <a16:creationId xmlns:a16="http://schemas.microsoft.com/office/drawing/2014/main" id="{5EBCFE21-5807-7602-479A-A6B62CD0BF81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66898795"/>
              </p:ext>
            </p:extLst>
          </p:nvPr>
        </p:nvGraphicFramePr>
        <p:xfrm>
          <a:off x="464543" y="1315947"/>
          <a:ext cx="5631456" cy="4326555"/>
        </p:xfrm>
        <a:graphic>
          <a:graphicData uri="http://schemas.openxmlformats.org/drawingml/2006/table">
            <a:tbl>
              <a:tblPr firstRow="1" bandRow="1"/>
              <a:tblGrid>
                <a:gridCol w="1636117">
                  <a:extLst>
                    <a:ext uri="{9D8B030D-6E8A-4147-A177-3AD203B41FA5}">
                      <a16:colId xmlns:a16="http://schemas.microsoft.com/office/drawing/2014/main" val="851948152"/>
                    </a:ext>
                  </a:extLst>
                </a:gridCol>
                <a:gridCol w="1556660">
                  <a:extLst>
                    <a:ext uri="{9D8B030D-6E8A-4147-A177-3AD203B41FA5}">
                      <a16:colId xmlns:a16="http://schemas.microsoft.com/office/drawing/2014/main" val="701096665"/>
                    </a:ext>
                  </a:extLst>
                </a:gridCol>
                <a:gridCol w="613678">
                  <a:extLst>
                    <a:ext uri="{9D8B030D-6E8A-4147-A177-3AD203B41FA5}">
                      <a16:colId xmlns:a16="http://schemas.microsoft.com/office/drawing/2014/main" val="939599150"/>
                    </a:ext>
                  </a:extLst>
                </a:gridCol>
                <a:gridCol w="631928">
                  <a:extLst>
                    <a:ext uri="{9D8B030D-6E8A-4147-A177-3AD203B41FA5}">
                      <a16:colId xmlns:a16="http://schemas.microsoft.com/office/drawing/2014/main" val="3884805216"/>
                    </a:ext>
                  </a:extLst>
                </a:gridCol>
                <a:gridCol w="592183">
                  <a:extLst>
                    <a:ext uri="{9D8B030D-6E8A-4147-A177-3AD203B41FA5}">
                      <a16:colId xmlns:a16="http://schemas.microsoft.com/office/drawing/2014/main" val="1779836527"/>
                    </a:ext>
                  </a:extLst>
                </a:gridCol>
                <a:gridCol w="600890">
                  <a:extLst>
                    <a:ext uri="{9D8B030D-6E8A-4147-A177-3AD203B41FA5}">
                      <a16:colId xmlns:a16="http://schemas.microsoft.com/office/drawing/2014/main" val="891477470"/>
                    </a:ext>
                  </a:extLst>
                </a:gridCol>
              </a:tblGrid>
              <a:tr h="288437">
                <a:tc rowSpan="2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ctr" fontAlgn="ctr"/>
                      <a:r>
                        <a:rPr lang="en-GB" sz="1100" b="0" u="none" strike="noStrike">
                          <a:solidFill>
                            <a:schemeClr val="bg1"/>
                          </a:solidFill>
                          <a:effectLst/>
                        </a:rPr>
                        <a:t>Classe</a:t>
                      </a:r>
                    </a:p>
                    <a:p>
                      <a:pPr algn="ctr" fontAlgn="ctr"/>
                      <a:r>
                        <a:rPr lang="en-GB" sz="1100" b="0" u="none" strike="noStrike">
                          <a:solidFill>
                            <a:schemeClr val="bg1"/>
                          </a:solidFill>
                          <a:effectLst/>
                        </a:rPr>
                        <a:t>di principi</a:t>
                      </a:r>
                    </a:p>
                    <a:p>
                      <a:pPr algn="ctr" fontAlgn="ctr"/>
                      <a:r>
                        <a:rPr lang="en-GB" sz="1100" b="0" u="none" strike="noStrike">
                          <a:solidFill>
                            <a:schemeClr val="bg1"/>
                          </a:solidFill>
                          <a:effectLst/>
                        </a:rPr>
                        <a:t>attivi</a:t>
                      </a:r>
                      <a:endParaRPr lang="en-GB" sz="1100" b="0" u="none" strike="noStrike" dirty="0">
                        <a:solidFill>
                          <a:schemeClr val="bg1"/>
                        </a:solidFill>
                        <a:effectLst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384F"/>
                    </a:solidFill>
                  </a:tcPr>
                </a:tc>
                <a:tc rowSpan="2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ctr" fontAlgn="ctr"/>
                      <a:r>
                        <a:rPr lang="en-GB" sz="1100" b="0" u="none" strike="noStrike">
                          <a:solidFill>
                            <a:schemeClr val="bg1"/>
                          </a:solidFill>
                          <a:effectLst/>
                        </a:rPr>
                        <a:t>Principe</a:t>
                      </a:r>
                    </a:p>
                    <a:p>
                      <a:pPr algn="ctr" fontAlgn="ctr"/>
                      <a:r>
                        <a:rPr lang="en-GB" sz="1100" b="0" u="none" strike="noStrike">
                          <a:solidFill>
                            <a:schemeClr val="bg1"/>
                          </a:solidFill>
                          <a:effectLst/>
                        </a:rPr>
                        <a:t>actif</a:t>
                      </a:r>
                      <a:endParaRPr lang="en-GB" sz="1100" b="0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384F"/>
                    </a:solidFill>
                  </a:tcPr>
                </a:tc>
                <a:tc gridSpan="4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ctr" fontAlgn="b"/>
                      <a:r>
                        <a:rPr lang="en-GB" sz="1100" b="0" u="none" strike="noStrike">
                          <a:solidFill>
                            <a:schemeClr val="bg1"/>
                          </a:solidFill>
                          <a:effectLst/>
                        </a:rPr>
                        <a:t>Interazioni</a:t>
                      </a:r>
                      <a:endParaRPr lang="en-GB" sz="1100" b="0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384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03413041"/>
                  </a:ext>
                </a:extLst>
              </a:tr>
              <a:tr h="288437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ctr" fontAlgn="b"/>
                      <a:r>
                        <a:rPr lang="en-GB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DARO </a:t>
                      </a:r>
                    </a:p>
                    <a:p>
                      <a:pPr algn="ctr" fontAlgn="b"/>
                      <a:r>
                        <a:rPr lang="en-GB" sz="600" b="0" u="none" strike="noStrike">
                          <a:solidFill>
                            <a:srgbClr val="000000"/>
                          </a:solidFill>
                          <a:effectLst/>
                        </a:rPr>
                        <a:t>[</a:t>
                      </a:r>
                      <a:r>
                        <a:rPr lang="en-GB" sz="600" b="0" u="none" strike="noStrike" baseline="0">
                          <a:solidFill>
                            <a:srgbClr val="000000"/>
                          </a:solidFill>
                          <a:effectLst/>
                        </a:rPr>
                        <a:t>1,6]</a:t>
                      </a:r>
                      <a:endParaRPr lang="en-GB" sz="800" b="0" i="0" u="none" strike="noStrike" baseline="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ctr" fontAlgn="b"/>
                      <a:r>
                        <a:rPr lang="en-GB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ABI </a:t>
                      </a:r>
                    </a:p>
                    <a:p>
                      <a:pPr algn="ctr" fontAlgn="b"/>
                      <a:r>
                        <a:rPr lang="en-GB" sz="600" b="0" u="none" strike="noStrike">
                          <a:solidFill>
                            <a:srgbClr val="000000"/>
                          </a:solidFill>
                          <a:effectLst/>
                        </a:rPr>
                        <a:t>[2,6]</a:t>
                      </a:r>
                      <a:endParaRPr lang="en-GB" sz="1100" b="0" i="0" u="none" strike="noStrike" baseline="300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ctr" fontAlgn="b"/>
                      <a:r>
                        <a:rPr lang="en-GB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APA </a:t>
                      </a:r>
                    </a:p>
                    <a:p>
                      <a:pPr algn="ctr" fontAlgn="b"/>
                      <a:r>
                        <a:rPr lang="en-GB" sz="600" b="0" u="none" strike="noStrike">
                          <a:solidFill>
                            <a:srgbClr val="000000"/>
                          </a:solidFill>
                          <a:effectLst/>
                        </a:rPr>
                        <a:t>[3,6]</a:t>
                      </a:r>
                      <a:endParaRPr lang="en-GB" sz="800" b="0" i="0" u="none" strike="noStrike" baseline="300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ctr" fontAlgn="b"/>
                      <a:r>
                        <a:rPr lang="en-GB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ENZA </a:t>
                      </a:r>
                    </a:p>
                    <a:p>
                      <a:pPr algn="ctr" fontAlgn="b"/>
                      <a:r>
                        <a:rPr lang="en-GB" sz="600" b="0" u="none" strike="noStrike">
                          <a:solidFill>
                            <a:srgbClr val="000000"/>
                          </a:solidFill>
                          <a:effectLst/>
                        </a:rPr>
                        <a:t>[4,6]</a:t>
                      </a:r>
                      <a:endParaRPr lang="en-GB" sz="600" b="0" i="0" u="none" strike="noStrike" baseline="300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14579545"/>
                  </a:ext>
                </a:extLst>
              </a:tr>
              <a:tr h="288437"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ctr" fontAlgn="ctr"/>
                      <a:r>
                        <a:rPr lang="en-GB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Ipnotici</a:t>
                      </a:r>
                      <a:endParaRPr lang="en-GB" sz="1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2E8F6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Diazepam</a:t>
                      </a: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287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2E8F6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100" b="0" u="none" strike="noStrike" dirty="0">
                          <a:solidFill>
                            <a:srgbClr val="00B050"/>
                          </a:solidFill>
                          <a:effectLst/>
                        </a:rPr>
                        <a:t> </a:t>
                      </a:r>
                      <a:endParaRPr lang="en-GB" sz="1100" b="0" i="0" u="none" strike="noStrike" dirty="0">
                        <a:solidFill>
                          <a:srgbClr val="00B05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 </a:t>
                      </a:r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 </a:t>
                      </a:r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 </a:t>
                      </a:r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18558112"/>
                  </a:ext>
                </a:extLst>
              </a:tr>
              <a:tr h="288437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Midazolam</a:t>
                      </a: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287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2E8F6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100" b="0" u="none" strike="noStrike" dirty="0">
                          <a:solidFill>
                            <a:srgbClr val="00B050"/>
                          </a:solidFill>
                          <a:effectLst/>
                        </a:rPr>
                        <a:t> </a:t>
                      </a:r>
                      <a:endParaRPr lang="en-GB" sz="1100" b="0" i="0" u="none" strike="noStrike" dirty="0">
                        <a:solidFill>
                          <a:srgbClr val="00B05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 </a:t>
                      </a:r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 </a:t>
                      </a:r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 </a:t>
                      </a:r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29783773"/>
                  </a:ext>
                </a:extLst>
              </a:tr>
              <a:tr h="288437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Zopiclone </a:t>
                      </a: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287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2E8F6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100" b="0" u="none" strike="noStrike" dirty="0">
                          <a:solidFill>
                            <a:srgbClr val="00B050"/>
                          </a:solidFill>
                          <a:effectLst/>
                        </a:rPr>
                        <a:t> </a:t>
                      </a:r>
                      <a:endParaRPr lang="en-GB" sz="1100" b="0" i="0" u="none" strike="noStrike" dirty="0">
                        <a:solidFill>
                          <a:srgbClr val="00B05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 </a:t>
                      </a:r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 </a:t>
                      </a:r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 </a:t>
                      </a:r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04914304"/>
                  </a:ext>
                </a:extLst>
              </a:tr>
              <a:tr h="288437">
                <a:tc rowSpan="5">
                  <a:txBody>
                    <a:bodyPr/>
                    <a:lstStyle/>
                    <a:p>
                      <a:pPr algn="ctr" fontAlgn="ctr"/>
                      <a:r>
                        <a:rPr lang="en-GB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Analgesici</a:t>
                      </a:r>
                      <a:endParaRPr lang="en-GB" sz="1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Diclofenac </a:t>
                      </a:r>
                    </a:p>
                  </a:txBody>
                  <a:tcPr marL="14287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1100" b="0" i="0" u="none" strike="noStrike" dirty="0">
                        <a:solidFill>
                          <a:srgbClr val="00B05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77897905"/>
                  </a:ext>
                </a:extLst>
              </a:tr>
              <a:tr h="288437">
                <a:tc vMerge="1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endParaRPr/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Fentanyl </a:t>
                      </a:r>
                    </a:p>
                  </a:txBody>
                  <a:tcPr marL="14287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100" b="0" u="none" strike="noStrike" dirty="0">
                          <a:solidFill>
                            <a:srgbClr val="00B050"/>
                          </a:solidFill>
                          <a:effectLst/>
                        </a:rPr>
                        <a:t> </a:t>
                      </a:r>
                      <a:endParaRPr lang="en-GB" sz="1100" b="0" i="0" u="none" strike="noStrike" dirty="0">
                        <a:solidFill>
                          <a:srgbClr val="00B05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 </a:t>
                      </a:r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 </a:t>
                      </a:r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 </a:t>
                      </a:r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59312638"/>
                  </a:ext>
                </a:extLst>
              </a:tr>
              <a:tr h="288437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Morfina</a:t>
                      </a: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287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100" b="0" u="none" strike="noStrike" dirty="0">
                          <a:solidFill>
                            <a:srgbClr val="00B050"/>
                          </a:solidFill>
                          <a:effectLst/>
                        </a:rPr>
                        <a:t> </a:t>
                      </a:r>
                      <a:endParaRPr lang="en-GB" sz="1100" b="0" i="0" u="none" strike="noStrike" dirty="0">
                        <a:solidFill>
                          <a:srgbClr val="00B05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 </a:t>
                      </a:r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 </a:t>
                      </a:r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 </a:t>
                      </a:r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11971437"/>
                  </a:ext>
                </a:extLst>
              </a:tr>
              <a:tr h="288437"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Oxycodone</a:t>
                      </a:r>
                    </a:p>
                  </a:txBody>
                  <a:tcPr marL="14287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1100" b="0" i="0" u="none" strike="noStrike" dirty="0">
                        <a:solidFill>
                          <a:srgbClr val="00B05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36256825"/>
                  </a:ext>
                </a:extLst>
              </a:tr>
              <a:tr h="288437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Tramadolo</a:t>
                      </a: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287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100" b="0" u="none" strike="noStrike" dirty="0">
                          <a:solidFill>
                            <a:srgbClr val="00B050"/>
                          </a:solidFill>
                          <a:effectLst/>
                        </a:rPr>
                        <a:t> </a:t>
                      </a:r>
                      <a:endParaRPr lang="en-GB" sz="1100" b="0" i="0" u="none" strike="noStrike" dirty="0">
                        <a:solidFill>
                          <a:srgbClr val="00B05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 </a:t>
                      </a:r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 </a:t>
                      </a:r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 </a:t>
                      </a:r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68815347"/>
                  </a:ext>
                </a:extLst>
              </a:tr>
              <a:tr h="288437">
                <a:tc row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ctr" fontAlgn="ctr"/>
                      <a:r>
                        <a:rPr lang="en-GB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Antitussivi</a:t>
                      </a:r>
                      <a:endParaRPr lang="en-GB" sz="1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2E8F6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Codeina</a:t>
                      </a: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287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2E8F6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34650511"/>
                  </a:ext>
                </a:extLst>
              </a:tr>
              <a:tr h="288437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2E8F6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Destrometorfano</a:t>
                      </a: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287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2E8F6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00915960"/>
                  </a:ext>
                </a:extLst>
              </a:tr>
              <a:tr h="288437"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en-GB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Antipertensivi</a:t>
                      </a:r>
                      <a:endParaRPr lang="en-GB" sz="1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Amlodipina</a:t>
                      </a: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287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52794327"/>
                  </a:ext>
                </a:extLst>
              </a:tr>
              <a:tr h="288437">
                <a:tc vMerge="1">
                  <a:txBody>
                    <a:bodyPr/>
                    <a:lstStyle/>
                    <a:p>
                      <a:pPr algn="ctr" fontAlgn="ctr"/>
                      <a:endParaRPr lang="en-GB" sz="1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Idroclorotiazide</a:t>
                      </a: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287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62838763"/>
                  </a:ext>
                </a:extLst>
              </a:tr>
              <a:tr h="288437">
                <a:tc vMerge="1">
                  <a:txBody>
                    <a:bodyPr/>
                    <a:lstStyle/>
                    <a:p>
                      <a:pPr algn="ctr" fontAlgn="ctr"/>
                      <a:endParaRPr lang="en-GB" sz="1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Valsartan</a:t>
                      </a: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287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39232150"/>
                  </a:ext>
                </a:extLst>
              </a:tr>
            </a:tbl>
          </a:graphicData>
        </a:graphic>
      </p:graphicFrame>
      <p:sp>
        <p:nvSpPr>
          <p:cNvPr id="7" name="TextBox 6">
            <a:extLst>
              <a:ext uri="{FF2B5EF4-FFF2-40B4-BE49-F238E27FC236}">
                <a16:creationId xmlns:a16="http://schemas.microsoft.com/office/drawing/2014/main" id="{832EAA4E-2DBB-B6FF-51FF-99D8E87E425B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gray">
          <a:xfrm>
            <a:off x="6546438" y="3908653"/>
            <a:ext cx="5375267" cy="186862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it-IT" sz="800" b="0" i="0" u="none" strike="noStrike" kern="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rPr>
              <a:t>Verde </a:t>
            </a:r>
            <a:r>
              <a:rPr kumimoji="0" lang="it-IT" sz="800" b="0" i="0" u="none" strike="noStrike" kern="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– </a:t>
            </a:r>
            <a:r>
              <a:rPr kumimoji="0" lang="it-IT" sz="800" b="0" i="0" u="none" strike="noStrike" kern="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rPr>
              <a:t>nessuna restrizione sulla somministrazione simultanea</a:t>
            </a:r>
            <a:endParaRPr kumimoji="0" lang="it-IT" sz="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  <a:sym typeface="Arial"/>
            </a:endParaRP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it-IT" sz="800" b="0" i="0" u="none" strike="noStrike" kern="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rPr>
              <a:t>Giallo </a:t>
            </a:r>
            <a:r>
              <a:rPr kumimoji="0" lang="it-IT" sz="800" b="0" i="0" u="none" strike="noStrike" kern="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– </a:t>
            </a:r>
            <a:r>
              <a:rPr kumimoji="0" lang="it-IT" sz="800" b="0" i="0" u="none" strike="noStrike" kern="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rPr>
              <a:t>con cautela, può essere necessario un aggiustamento della dose</a:t>
            </a:r>
            <a:endParaRPr kumimoji="0" lang="it-IT" sz="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  <a:sym typeface="Arial"/>
            </a:endParaRP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it-IT" sz="800" b="0" i="0" u="none" strike="noStrike" kern="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Ro</a:t>
            </a:r>
            <a:r>
              <a:rPr kumimoji="0" lang="it-IT" sz="800" b="0" i="0" u="none" strike="noStrike" kern="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rPr>
              <a:t>sso</a:t>
            </a:r>
            <a:r>
              <a:rPr kumimoji="0" lang="it-IT" sz="800" b="0" i="0" u="none" strike="noStrike" kern="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 – Controindicazione / evitare / prendere in considerazione un adeguamento della terapia</a:t>
            </a:r>
            <a:endParaRPr kumimoji="0" lang="de-DE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de-DE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ADT: Terapia di deprivazione androgenica; </a:t>
            </a: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ARPIs: Androgen Receptor Pathway Inhibitors</a:t>
            </a: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Daro: Darolutamide; </a:t>
            </a:r>
            <a:r>
              <a:rPr kumimoji="0" lang="de-DE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Abi</a:t>
            </a:r>
            <a:r>
              <a: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: Abiraterone; </a:t>
            </a:r>
            <a:r>
              <a:rPr kumimoji="0" lang="de-DE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Apa</a:t>
            </a:r>
            <a:r>
              <a: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: Apalutamide; </a:t>
            </a:r>
            <a:r>
              <a:rPr kumimoji="0" lang="de-DE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Enza</a:t>
            </a:r>
            <a:r>
              <a: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: Enzalutamide</a:t>
            </a: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* Nelle tabelle seguenti sono elencati i medicamenti più comunemente utilizzati dai pazienti in</a:t>
            </a: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trattamento per il cancro della prostata; l’elenco non è esaustivo. Per ulteriori informazioni consultare l’informazione professionale rispettiva di ciascun medicamento.</a:t>
            </a: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§ La informiamo che questo collegamento conduce a un sito esterno. Bayer (Schweiz) AG non ha</a:t>
            </a: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alcuna influenza sulla struttura e sul contenuto delle pagine collegate e declina quindi espressamente</a:t>
            </a: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qualsiasi responsabilità per i contenuti di siti esterni e per le conseguenze che ne derivano.</a:t>
            </a:r>
            <a:endParaRPr kumimoji="0" lang="de-DE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0EC14AA3-1187-B516-A497-9608D1E36F1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1127475" y="6176814"/>
            <a:ext cx="877113" cy="521827"/>
          </a:xfrm>
          <a:prstGeom prst="rect">
            <a:avLst/>
          </a:prstGeom>
        </p:spPr>
      </p:pic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3BCED3B4-A706-2180-7EB7-67CAC8FB880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75296132"/>
              </p:ext>
            </p:extLst>
          </p:nvPr>
        </p:nvGraphicFramePr>
        <p:xfrm>
          <a:off x="6546438" y="1290320"/>
          <a:ext cx="3391192" cy="2306320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3391192">
                  <a:extLst>
                    <a:ext uri="{9D8B030D-6E8A-4147-A177-3AD203B41FA5}">
                      <a16:colId xmlns:a16="http://schemas.microsoft.com/office/drawing/2014/main" val="1171888637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de-DE" sz="1100" cap="all" baseline="0"/>
                        <a:t>Download pubblicazione</a:t>
                      </a:r>
                      <a:r>
                        <a:rPr lang="de-CH" sz="1100" baseline="30000"/>
                        <a:t>§</a:t>
                      </a:r>
                      <a:endParaRPr lang="de-DE" sz="1100" baseline="300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2721003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just"/>
                      <a:r>
                        <a:rPr lang="de-DE" sz="1100" b="1">
                          <a:solidFill>
                            <a:schemeClr val="tx1"/>
                          </a:solidFill>
                          <a:hlinkClick r:id="rId6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Il riassunto « Androgen</a:t>
                      </a:r>
                    </a:p>
                    <a:p>
                      <a:pPr algn="just"/>
                      <a:r>
                        <a:rPr lang="de-DE" sz="1100" b="1">
                          <a:solidFill>
                            <a:schemeClr val="tx1"/>
                          </a:solidFill>
                          <a:hlinkClick r:id="rId6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receptor pathway</a:t>
                      </a:r>
                    </a:p>
                    <a:p>
                      <a:pPr algn="just"/>
                      <a:r>
                        <a:rPr lang="de-DE" sz="1100" b="1">
                          <a:solidFill>
                            <a:schemeClr val="tx1"/>
                          </a:solidFill>
                          <a:hlinkClick r:id="rId6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inhibitors and drugdrug</a:t>
                      </a:r>
                    </a:p>
                    <a:p>
                      <a:pPr algn="just"/>
                      <a:r>
                        <a:rPr lang="de-DE" sz="1100" b="1">
                          <a:solidFill>
                            <a:schemeClr val="tx1"/>
                          </a:solidFill>
                          <a:hlinkClick r:id="rId6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interactions in</a:t>
                      </a:r>
                    </a:p>
                    <a:p>
                      <a:pPr algn="just"/>
                      <a:r>
                        <a:rPr lang="de-DE" sz="1100" b="1">
                          <a:solidFill>
                            <a:schemeClr val="tx1"/>
                          </a:solidFill>
                          <a:hlinkClick r:id="rId6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prostate cancer » pubblicato su</a:t>
                      </a:r>
                    </a:p>
                    <a:p>
                      <a:pPr algn="just"/>
                      <a:r>
                        <a:rPr lang="de-DE" sz="1100" b="1">
                          <a:solidFill>
                            <a:schemeClr val="tx1"/>
                          </a:solidFill>
                          <a:hlinkClick r:id="rId6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ESMO Open Review</a:t>
                      </a:r>
                      <a:r>
                        <a:rPr lang="de-DE" sz="1100" b="1" baseline="30000">
                          <a:solidFill>
                            <a:schemeClr val="tx1"/>
                          </a:solidFill>
                          <a:hlinkClick r:id="rId6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§,6 </a:t>
                      </a:r>
                      <a:endParaRPr lang="de-DE" sz="1100" b="1" baseline="30000">
                        <a:solidFill>
                          <a:schemeClr val="tx1"/>
                        </a:solidFill>
                      </a:endParaRPr>
                    </a:p>
                    <a:p>
                      <a:pPr algn="just"/>
                      <a:r>
                        <a:rPr lang="it-IT" sz="1100"/>
                        <a:t>fornisce ulteriori informazioni che assieme</a:t>
                      </a:r>
                    </a:p>
                    <a:p>
                      <a:pPr algn="just"/>
                      <a:r>
                        <a:rPr lang="it-IT" sz="1100"/>
                        <a:t>all’informazione professionale e alla</a:t>
                      </a:r>
                    </a:p>
                    <a:p>
                      <a:pPr algn="just"/>
                      <a:r>
                        <a:rPr lang="it-IT" sz="1100"/>
                        <a:t>letteratura specialistica aiutano a identificare</a:t>
                      </a:r>
                    </a:p>
                    <a:p>
                      <a:pPr algn="just"/>
                      <a:r>
                        <a:rPr lang="it-IT" sz="1100"/>
                        <a:t>rapidamente le potenziali interazioni tra</a:t>
                      </a:r>
                    </a:p>
                    <a:p>
                      <a:pPr algn="just"/>
                      <a:r>
                        <a:rPr lang="it-IT" sz="1100"/>
                        <a:t>medicamenti.</a:t>
                      </a:r>
                      <a:endParaRPr lang="de-DE" sz="11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06633679"/>
                  </a:ext>
                </a:extLst>
              </a:tr>
            </a:tbl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id="{38B575E6-DA11-771E-ADC9-4754C2876BDB}"/>
              </a:ext>
            </a:extLst>
          </p:cNvPr>
          <p:cNvPicPr>
            <a:picLocks noChangeAspect="1"/>
          </p:cNvPicPr>
          <p:nvPr/>
        </p:nvPicPr>
        <p:blipFill>
          <a:blip r:embed="rId7">
            <a:duotone>
              <a:schemeClr val="accent2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8897199" y="1759787"/>
            <a:ext cx="845390" cy="8453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389317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5" name="Picture 34"/>
          <p:cNvPicPr>
            <a:picLocks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16" y="-19846"/>
            <a:ext cx="12207240" cy="1078992"/>
          </a:xfrm>
          <a:prstGeom prst="rect">
            <a:avLst/>
          </a:prstGeom>
        </p:spPr>
      </p:pic>
      <p:sp>
        <p:nvSpPr>
          <p:cNvPr id="49" name="TextBox 48">
            <a:extLst>
              <a:ext uri="{FF2B5EF4-FFF2-40B4-BE49-F238E27FC236}">
                <a16:creationId xmlns:a16="http://schemas.microsoft.com/office/drawing/2014/main" id="{8D79B55B-EF59-2C9D-7B6D-84E89FDE2AAB}"/>
              </a:ext>
            </a:extLst>
          </p:cNvPr>
          <p:cNvSpPr txBox="1"/>
          <p:nvPr/>
        </p:nvSpPr>
        <p:spPr>
          <a:xfrm>
            <a:off x="456370" y="1206893"/>
            <a:ext cx="11279260" cy="45591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900" b="1" i="0" u="none" strike="noStrike" kern="1200" cap="none" spc="0" normalizeH="0" baseline="0" noProof="0" dirty="0">
                <a:ln>
                  <a:noFill/>
                </a:ln>
                <a:solidFill>
                  <a:srgbClr val="77787B"/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 </a:t>
            </a:r>
            <a:endParaRPr kumimoji="0" lang="en-CH" sz="900" b="0" i="0" u="none" strike="noStrike" kern="1200" cap="none" spc="0" normalizeH="0" baseline="0" noProof="0" dirty="0">
              <a:ln>
                <a:noFill/>
              </a:ln>
              <a:solidFill>
                <a:srgbClr val="77787B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algn="just">
              <a:lnSpc>
                <a:spcPct val="115000"/>
              </a:lnSpc>
              <a:spcAft>
                <a:spcPts val="1000"/>
              </a:spcAft>
              <a:buNone/>
            </a:pPr>
            <a:r>
              <a:rPr lang="it-IT" sz="900" b="1" dirty="0" err="1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Inform</a:t>
            </a:r>
            <a:r>
              <a:rPr lang="it-IT" sz="900" b="1" dirty="0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. </a:t>
            </a:r>
            <a:r>
              <a:rPr lang="it-IT" sz="900" b="1" dirty="0" err="1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profess</a:t>
            </a:r>
            <a:r>
              <a:rPr lang="it-IT" sz="900" b="1" dirty="0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. sintetica NUBEQA</a:t>
            </a:r>
            <a:r>
              <a:rPr lang="it-IT" sz="900" b="1" baseline="30000" dirty="0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®</a:t>
            </a:r>
            <a:r>
              <a:rPr lang="it-IT" sz="900" b="1" dirty="0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endParaRPr lang="de-CH" sz="900" dirty="0">
              <a:solidFill>
                <a:schemeClr val="bg2">
                  <a:lumMod val="50000"/>
                </a:schemeClr>
              </a:solidFill>
              <a:effectLst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algn="just">
              <a:lnSpc>
                <a:spcPct val="115000"/>
              </a:lnSpc>
              <a:spcAft>
                <a:spcPts val="1000"/>
              </a:spcAft>
              <a:buNone/>
            </a:pPr>
            <a:r>
              <a:rPr lang="it-IT" sz="900" b="1" dirty="0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PA.:</a:t>
            </a:r>
            <a:r>
              <a:rPr lang="it-IT" sz="900" dirty="0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it-IT" sz="900" dirty="0" err="1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darolutamidum</a:t>
            </a:r>
            <a:r>
              <a:rPr lang="it-IT" sz="900" dirty="0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. </a:t>
            </a:r>
            <a:r>
              <a:rPr lang="it-IT" sz="900" b="1" dirty="0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I.:</a:t>
            </a:r>
            <a:r>
              <a:rPr lang="it-IT" sz="900" dirty="0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NUBEQA è indicato. in </a:t>
            </a:r>
            <a:r>
              <a:rPr lang="it-IT" sz="900" dirty="0" err="1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comb</a:t>
            </a:r>
            <a:r>
              <a:rPr lang="it-IT" sz="900" dirty="0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. con una terapia di deprivazione androgenica (ADT) per il </a:t>
            </a:r>
            <a:r>
              <a:rPr lang="it-IT" sz="900" dirty="0" err="1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tratt</a:t>
            </a:r>
            <a:r>
              <a:rPr lang="it-IT" sz="900" dirty="0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. di </a:t>
            </a:r>
            <a:r>
              <a:rPr lang="it-IT" sz="900" dirty="0" err="1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paz</a:t>
            </a:r>
            <a:r>
              <a:rPr lang="it-IT" sz="900" dirty="0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. adulti con </a:t>
            </a:r>
            <a:r>
              <a:rPr lang="it-IT" sz="900" dirty="0" err="1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carcinomaprostatico</a:t>
            </a:r>
            <a:r>
              <a:rPr lang="it-IT" sz="900" dirty="0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metastatico </a:t>
            </a:r>
            <a:r>
              <a:rPr lang="it-IT" sz="900" dirty="0" err="1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ormono</a:t>
            </a:r>
            <a:r>
              <a:rPr lang="it-IT" sz="900" dirty="0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-sensibile (</a:t>
            </a:r>
            <a:r>
              <a:rPr lang="it-IT" sz="900" dirty="0" err="1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mHSPC</a:t>
            </a:r>
            <a:r>
              <a:rPr lang="it-IT" sz="900" dirty="0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). NUBEQA è indicato in </a:t>
            </a:r>
            <a:r>
              <a:rPr lang="it-IT" sz="900" dirty="0" err="1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comb</a:t>
            </a:r>
            <a:r>
              <a:rPr lang="it-IT" sz="900" dirty="0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. con </a:t>
            </a:r>
            <a:r>
              <a:rPr lang="it-IT" sz="900" dirty="0" err="1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docetaxel</a:t>
            </a:r>
            <a:r>
              <a:rPr lang="it-IT" sz="900" dirty="0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e terapia di deprivazione androgenica (ADT) per il trattamento di pazienti adulti con carcinoma prostatico </a:t>
            </a:r>
            <a:r>
              <a:rPr lang="it-IT" sz="900" dirty="0" err="1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ormono</a:t>
            </a:r>
            <a:r>
              <a:rPr lang="it-IT" sz="900" dirty="0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-sensibile metastatico (</a:t>
            </a:r>
            <a:r>
              <a:rPr lang="it-IT" sz="900" dirty="0" err="1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mHSPC</a:t>
            </a:r>
            <a:r>
              <a:rPr lang="it-IT" sz="900" dirty="0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) per i quali è indicata la terapia con </a:t>
            </a:r>
            <a:r>
              <a:rPr lang="it-IT" sz="900" dirty="0" err="1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docetaxel</a:t>
            </a:r>
            <a:r>
              <a:rPr lang="it-IT" sz="900" dirty="0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. NUBEQA è indicato in </a:t>
            </a:r>
            <a:r>
              <a:rPr lang="it-IT" sz="900" dirty="0" err="1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comb</a:t>
            </a:r>
            <a:r>
              <a:rPr lang="it-IT" sz="900" dirty="0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. con una terapia di deprivazione androgenica (ADT) per il trattamento di </a:t>
            </a:r>
            <a:r>
              <a:rPr lang="it-IT" sz="900" dirty="0" err="1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paz</a:t>
            </a:r>
            <a:r>
              <a:rPr lang="it-IT" sz="900" dirty="0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. adulti con carcinoma prostatico resistente alla castrazione non metastatico (</a:t>
            </a:r>
            <a:r>
              <a:rPr lang="it-IT" sz="900" dirty="0" err="1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nmCRPC</a:t>
            </a:r>
            <a:r>
              <a:rPr lang="it-IT" sz="900" dirty="0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) ad alto rischio di sviluppo di metastasi (in particolare PSADT ≤10 </a:t>
            </a:r>
            <a:r>
              <a:rPr lang="it-IT" sz="900" dirty="0" err="1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mesi;</a:t>
            </a:r>
            <a:r>
              <a:rPr lang="it-IT" sz="900" b="1" dirty="0" err="1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P</a:t>
            </a:r>
            <a:r>
              <a:rPr lang="it-IT" sz="900" b="1" dirty="0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/I.: </a:t>
            </a:r>
            <a:r>
              <a:rPr lang="it-IT" sz="900" dirty="0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600mg (2 </a:t>
            </a:r>
            <a:r>
              <a:rPr lang="it-IT" sz="900" dirty="0" err="1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cpr</a:t>
            </a:r>
            <a:r>
              <a:rPr lang="it-IT" sz="900" dirty="0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. rivestite con film da 300mg) 2x al giorno a pasto (dose totale 1200mg al giorno). I </a:t>
            </a:r>
            <a:r>
              <a:rPr lang="it-IT" sz="900" dirty="0" err="1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paz</a:t>
            </a:r>
            <a:r>
              <a:rPr lang="it-IT" sz="900" dirty="0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. in </a:t>
            </a:r>
            <a:r>
              <a:rPr lang="it-IT" sz="900" dirty="0" err="1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tratt</a:t>
            </a:r>
            <a:r>
              <a:rPr lang="it-IT" sz="900" dirty="0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. con NUBEQA dovrebbero ricevere in </a:t>
            </a:r>
            <a:r>
              <a:rPr lang="it-IT" sz="900" dirty="0" err="1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concomit</a:t>
            </a:r>
            <a:r>
              <a:rPr lang="it-IT" sz="900" dirty="0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. anche un agonista o antagonista LHRH o essere stati sottoposti a orchiectomia </a:t>
            </a:r>
            <a:r>
              <a:rPr lang="it-IT" sz="900" dirty="0" err="1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bilat</a:t>
            </a:r>
            <a:r>
              <a:rPr lang="it-IT" sz="900" dirty="0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.. Se utilizzato in </a:t>
            </a:r>
            <a:r>
              <a:rPr lang="it-IT" sz="900" dirty="0" err="1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comb</a:t>
            </a:r>
            <a:r>
              <a:rPr lang="it-IT" sz="900" dirty="0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. con </a:t>
            </a:r>
            <a:r>
              <a:rPr lang="it-IT" sz="900" dirty="0" err="1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docetaxel</a:t>
            </a:r>
            <a:r>
              <a:rPr lang="it-IT" sz="900" dirty="0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, il primo dei 6 cicli di </a:t>
            </a:r>
            <a:r>
              <a:rPr lang="it-IT" sz="900" dirty="0" err="1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docetaxel</a:t>
            </a:r>
            <a:r>
              <a:rPr lang="it-IT" sz="900" dirty="0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deve </a:t>
            </a:r>
            <a:r>
              <a:rPr lang="it-IT" sz="900" dirty="0" err="1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iniz</a:t>
            </a:r>
            <a:r>
              <a:rPr lang="it-IT" sz="900" dirty="0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. entro 6 sett. dall'inizio della terapia con NUBEQA. </a:t>
            </a:r>
            <a:r>
              <a:rPr lang="it-IT" sz="900" b="1" dirty="0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CI.:</a:t>
            </a:r>
            <a:r>
              <a:rPr lang="it-IT" sz="900" dirty="0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ipersensibilità al </a:t>
            </a:r>
            <a:r>
              <a:rPr lang="it-IT" sz="900" dirty="0" err="1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princ</a:t>
            </a:r>
            <a:r>
              <a:rPr lang="it-IT" sz="900" dirty="0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. attivo o a una qualsiasi delle sostanze ausiliarie. Donne in gravidanza o in età fertile. </a:t>
            </a:r>
            <a:r>
              <a:rPr lang="it-IT" sz="900" b="1" dirty="0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A/Prec.:</a:t>
            </a:r>
            <a:r>
              <a:rPr lang="it-IT" sz="900" dirty="0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Disturbi della </a:t>
            </a:r>
            <a:r>
              <a:rPr lang="it-IT" sz="900" dirty="0" err="1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funz</a:t>
            </a:r>
            <a:r>
              <a:rPr lang="it-IT" sz="900" dirty="0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. renale/epatica: Paz. con </a:t>
            </a:r>
            <a:r>
              <a:rPr lang="it-IT" sz="900" dirty="0" err="1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disfunz</a:t>
            </a:r>
            <a:r>
              <a:rPr lang="it-IT" sz="900" dirty="0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. renale grave o </a:t>
            </a:r>
            <a:r>
              <a:rPr lang="it-IT" sz="900" dirty="0" err="1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disfunz</a:t>
            </a:r>
            <a:r>
              <a:rPr lang="it-IT" sz="900" dirty="0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. epatica moderata o grave devono essere strettamente monitor. per </a:t>
            </a:r>
            <a:r>
              <a:rPr lang="it-IT" sz="900" dirty="0" err="1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controll</a:t>
            </a:r>
            <a:r>
              <a:rPr lang="it-IT" sz="900" dirty="0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. </a:t>
            </a:r>
            <a:r>
              <a:rPr lang="it-IT" sz="900" dirty="0" err="1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l’ev</a:t>
            </a:r>
            <a:r>
              <a:rPr lang="it-IT" sz="900" dirty="0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. insorgenza di reazioni avverse. </a:t>
            </a:r>
            <a:r>
              <a:rPr lang="it-IT" sz="900" dirty="0" err="1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Epatotoss</a:t>
            </a:r>
            <a:r>
              <a:rPr lang="it-IT" sz="900" dirty="0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.: Se si </a:t>
            </a:r>
            <a:r>
              <a:rPr lang="it-IT" sz="900" dirty="0" err="1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verific</a:t>
            </a:r>
            <a:r>
              <a:rPr lang="it-IT" sz="900" dirty="0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. anomalie dei valori epatici </a:t>
            </a:r>
            <a:r>
              <a:rPr lang="it-IT" sz="900" dirty="0" err="1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indicat</a:t>
            </a:r>
            <a:r>
              <a:rPr lang="it-IT" sz="900" dirty="0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. di un danno epatico da farmaci idiosincratico, NUBEQA deve essere interrotto in via </a:t>
            </a:r>
            <a:r>
              <a:rPr lang="it-IT" sz="900" dirty="0" err="1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definit</a:t>
            </a:r>
            <a:r>
              <a:rPr lang="it-IT" sz="900" dirty="0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. L’ADT può </a:t>
            </a:r>
            <a:r>
              <a:rPr lang="it-IT" sz="900" dirty="0" err="1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prolung</a:t>
            </a:r>
            <a:r>
              <a:rPr lang="it-IT" sz="900" dirty="0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. l’</a:t>
            </a:r>
            <a:r>
              <a:rPr lang="it-IT" sz="900" dirty="0" err="1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interv</a:t>
            </a:r>
            <a:r>
              <a:rPr lang="it-IT" sz="900" dirty="0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. QT: In caso di fattori di rischio o </a:t>
            </a:r>
            <a:r>
              <a:rPr lang="it-IT" sz="900" dirty="0" err="1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medicam</a:t>
            </a:r>
            <a:r>
              <a:rPr lang="it-IT" sz="900" dirty="0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. </a:t>
            </a:r>
            <a:r>
              <a:rPr lang="it-IT" sz="900" dirty="0" err="1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concomit</a:t>
            </a:r>
            <a:r>
              <a:rPr lang="it-IT" sz="900" dirty="0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. che </a:t>
            </a:r>
            <a:r>
              <a:rPr lang="it-IT" sz="900" dirty="0" err="1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prolung</a:t>
            </a:r>
            <a:r>
              <a:rPr lang="it-IT" sz="900" dirty="0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. l’</a:t>
            </a:r>
            <a:r>
              <a:rPr lang="it-IT" sz="900" dirty="0" err="1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interv</a:t>
            </a:r>
            <a:r>
              <a:rPr lang="it-IT" sz="900" dirty="0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. QT, occorre </a:t>
            </a:r>
            <a:r>
              <a:rPr lang="it-IT" sz="900" dirty="0" err="1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consider</a:t>
            </a:r>
            <a:r>
              <a:rPr lang="it-IT" sz="900" dirty="0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. un </a:t>
            </a:r>
            <a:r>
              <a:rPr lang="it-IT" sz="900" dirty="0" err="1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monitoragg</a:t>
            </a:r>
            <a:r>
              <a:rPr lang="it-IT" sz="900" dirty="0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. ECG. </a:t>
            </a:r>
            <a:r>
              <a:rPr lang="it-IT" sz="900" dirty="0" err="1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Contraccez</a:t>
            </a:r>
            <a:r>
              <a:rPr lang="it-IT" sz="900" dirty="0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.: Nei </a:t>
            </a:r>
            <a:r>
              <a:rPr lang="it-IT" sz="900" dirty="0" err="1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paz</a:t>
            </a:r>
            <a:r>
              <a:rPr lang="it-IT" sz="900" dirty="0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. sessualmente attivi va utilizzata una </a:t>
            </a:r>
            <a:r>
              <a:rPr lang="it-IT" sz="900" dirty="0" err="1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contraccez</a:t>
            </a:r>
            <a:r>
              <a:rPr lang="it-IT" sz="900" dirty="0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. </a:t>
            </a:r>
            <a:r>
              <a:rPr lang="it-IT" sz="900" dirty="0" err="1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altam</a:t>
            </a:r>
            <a:r>
              <a:rPr lang="it-IT" sz="900" dirty="0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. efficace. Densità </a:t>
            </a:r>
            <a:r>
              <a:rPr lang="it-IT" sz="900" dirty="0" err="1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oss</a:t>
            </a:r>
            <a:r>
              <a:rPr lang="it-IT" sz="900" dirty="0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.: </a:t>
            </a:r>
            <a:r>
              <a:rPr lang="it-IT" sz="900" dirty="0" err="1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Possib</a:t>
            </a:r>
            <a:r>
              <a:rPr lang="it-IT" sz="900" dirty="0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. effetto per la </a:t>
            </a:r>
            <a:r>
              <a:rPr lang="it-IT" sz="900" dirty="0" err="1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soppress</a:t>
            </a:r>
            <a:r>
              <a:rPr lang="it-IT" sz="900" dirty="0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. a lungo termine del testosterone durante il </a:t>
            </a:r>
            <a:r>
              <a:rPr lang="it-IT" sz="900" dirty="0" err="1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tratt</a:t>
            </a:r>
            <a:r>
              <a:rPr lang="it-IT" sz="900" dirty="0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. con NUBEQA. Malattia </a:t>
            </a:r>
            <a:r>
              <a:rPr lang="it-IT" sz="900" dirty="0" err="1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cardiovasc</a:t>
            </a:r>
            <a:r>
              <a:rPr lang="it-IT" sz="900" dirty="0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. recente: La sicurezza di NUBEQA non è stata </a:t>
            </a:r>
            <a:r>
              <a:rPr lang="it-IT" sz="900" dirty="0" err="1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stabil</a:t>
            </a:r>
            <a:r>
              <a:rPr lang="it-IT" sz="900" dirty="0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. in </a:t>
            </a:r>
            <a:r>
              <a:rPr lang="it-IT" sz="900" dirty="0" err="1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paz</a:t>
            </a:r>
            <a:r>
              <a:rPr lang="it-IT" sz="900" dirty="0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. con malattie </a:t>
            </a:r>
            <a:r>
              <a:rPr lang="it-IT" sz="900" dirty="0" err="1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cardiovasc</a:t>
            </a:r>
            <a:r>
              <a:rPr lang="it-IT" sz="900" dirty="0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. </a:t>
            </a:r>
            <a:r>
              <a:rPr lang="it-IT" sz="900" dirty="0" err="1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Clinicam</a:t>
            </a:r>
            <a:r>
              <a:rPr lang="it-IT" sz="900" dirty="0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. rilevanti negli ultimi 6 mesi. La dose di </a:t>
            </a:r>
            <a:r>
              <a:rPr lang="it-IT" sz="900" dirty="0" err="1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assunz</a:t>
            </a:r>
            <a:r>
              <a:rPr lang="it-IT" sz="900" dirty="0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. è quasi «senza sodio». Sconsigliato per i </a:t>
            </a:r>
            <a:r>
              <a:rPr lang="it-IT" sz="900" dirty="0" err="1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paz</a:t>
            </a:r>
            <a:r>
              <a:rPr lang="it-IT" sz="900" dirty="0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. con </a:t>
            </a:r>
            <a:r>
              <a:rPr lang="it-IT" sz="900" dirty="0" err="1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intoll</a:t>
            </a:r>
            <a:r>
              <a:rPr lang="it-IT" sz="900" dirty="0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. ereditaria al galattosio, deficit totale di lattasi o </a:t>
            </a:r>
            <a:r>
              <a:rPr lang="it-IT" sz="900" dirty="0" err="1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malassorb</a:t>
            </a:r>
            <a:r>
              <a:rPr lang="it-IT" sz="900" dirty="0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. di glucosio-galattosio. </a:t>
            </a:r>
            <a:r>
              <a:rPr lang="it-IT" sz="900" b="1" dirty="0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IA.: </a:t>
            </a:r>
            <a:r>
              <a:rPr lang="it-IT" sz="900" dirty="0" err="1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inibit</a:t>
            </a:r>
            <a:r>
              <a:rPr lang="it-IT" sz="900" dirty="0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. di BCRP, OATP 1B1 e 1B3, in co-</a:t>
            </a:r>
            <a:r>
              <a:rPr lang="it-IT" sz="900" dirty="0" err="1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somministraz</a:t>
            </a:r>
            <a:r>
              <a:rPr lang="it-IT" sz="900" dirty="0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. di </a:t>
            </a:r>
            <a:r>
              <a:rPr lang="it-IT" sz="900" dirty="0" err="1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substr</a:t>
            </a:r>
            <a:r>
              <a:rPr lang="it-IT" sz="900" dirty="0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. </a:t>
            </a:r>
            <a:r>
              <a:rPr lang="it-IT" sz="900" dirty="0" err="1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Corrispond</a:t>
            </a:r>
            <a:r>
              <a:rPr lang="it-IT" sz="900" dirty="0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.. Osservare le </a:t>
            </a:r>
            <a:r>
              <a:rPr lang="it-IT" sz="900" dirty="0" err="1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raccomandaz</a:t>
            </a:r>
            <a:r>
              <a:rPr lang="it-IT" sz="900" dirty="0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. nella </a:t>
            </a:r>
            <a:r>
              <a:rPr lang="it-IT" sz="900" dirty="0" err="1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rispett</a:t>
            </a:r>
            <a:r>
              <a:rPr lang="it-IT" sz="900" dirty="0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. </a:t>
            </a:r>
            <a:r>
              <a:rPr lang="it-IT" sz="900" dirty="0" err="1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Informaz</a:t>
            </a:r>
            <a:r>
              <a:rPr lang="it-IT" sz="900" dirty="0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. </a:t>
            </a:r>
            <a:r>
              <a:rPr lang="it-IT" sz="900" dirty="0" err="1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profess</a:t>
            </a:r>
            <a:r>
              <a:rPr lang="it-IT" sz="900" dirty="0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.. Debole induttore del CYP3A4. Substrato di CYP3A4, P-</a:t>
            </a:r>
            <a:r>
              <a:rPr lang="it-IT" sz="900" dirty="0" err="1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Gp</a:t>
            </a:r>
            <a:r>
              <a:rPr lang="it-IT" sz="900" dirty="0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e BCRP. Durante il </a:t>
            </a:r>
            <a:r>
              <a:rPr lang="it-IT" sz="900" dirty="0" err="1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tratt</a:t>
            </a:r>
            <a:r>
              <a:rPr lang="it-IT" sz="900" dirty="0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. con NUBEQA si dovrebbe evitare l’utilizzo di potenti </a:t>
            </a:r>
            <a:r>
              <a:rPr lang="it-IT" sz="900" dirty="0" err="1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indutt</a:t>
            </a:r>
            <a:r>
              <a:rPr lang="it-IT" sz="900" dirty="0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. del CYP3A4 e della P-</a:t>
            </a:r>
            <a:r>
              <a:rPr lang="it-IT" sz="900" dirty="0" err="1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gp</a:t>
            </a:r>
            <a:r>
              <a:rPr lang="it-IT" sz="900" dirty="0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.</a:t>
            </a:r>
            <a:r>
              <a:rPr lang="it-IT" sz="900" b="1" dirty="0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EI.: </a:t>
            </a:r>
            <a:r>
              <a:rPr lang="it-IT" sz="900" i="1" dirty="0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NUBEQA:</a:t>
            </a:r>
            <a:r>
              <a:rPr lang="it-IT" sz="900" b="1" dirty="0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it-IT" sz="900" i="1" dirty="0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Molto comune:</a:t>
            </a:r>
            <a:r>
              <a:rPr lang="it-IT" sz="900" b="1" dirty="0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it-IT" sz="900" dirty="0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Conta dei neutrofili diminuita, AST e ALT aumentata, </a:t>
            </a:r>
            <a:r>
              <a:rPr lang="it-IT" sz="900" dirty="0" err="1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Bilirubin</a:t>
            </a:r>
            <a:r>
              <a:rPr lang="it-IT" sz="900" dirty="0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aumentata,</a:t>
            </a:r>
            <a:r>
              <a:rPr lang="it-IT" sz="900" b="1" dirty="0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it-IT" sz="900" dirty="0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Stanchezza.</a:t>
            </a:r>
            <a:r>
              <a:rPr lang="it-IT" sz="900" b="1" dirty="0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it-IT" sz="900" i="1" dirty="0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Comune</a:t>
            </a:r>
            <a:r>
              <a:rPr lang="it-IT" sz="900" b="1" i="1" dirty="0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:</a:t>
            </a:r>
            <a:r>
              <a:rPr lang="it-IT" sz="900" b="1" dirty="0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it-IT" sz="900" dirty="0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Cardiopatia ischemica</a:t>
            </a:r>
            <a:r>
              <a:rPr lang="it-IT" sz="900" b="1" dirty="0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, </a:t>
            </a:r>
            <a:r>
              <a:rPr lang="it-IT" sz="900" dirty="0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Insufficienza cardiaca,</a:t>
            </a:r>
            <a:r>
              <a:rPr lang="it-IT" sz="900" b="1" dirty="0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it-IT" sz="900" dirty="0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Eruzione cutanea</a:t>
            </a:r>
            <a:r>
              <a:rPr lang="it-IT" sz="900" b="1" dirty="0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, </a:t>
            </a:r>
            <a:r>
              <a:rPr lang="it-IT" sz="900" dirty="0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Dolori alle estremità</a:t>
            </a:r>
            <a:r>
              <a:rPr lang="it-IT" sz="900" b="1" dirty="0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, </a:t>
            </a:r>
            <a:r>
              <a:rPr lang="it-IT" sz="900" dirty="0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Fratture</a:t>
            </a:r>
            <a:r>
              <a:rPr lang="it-IT" sz="900" b="1" dirty="0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. </a:t>
            </a:r>
            <a:r>
              <a:rPr lang="it-IT" sz="900" dirty="0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NUBEQA in </a:t>
            </a:r>
            <a:r>
              <a:rPr lang="it-IT" sz="900" dirty="0" err="1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comb</a:t>
            </a:r>
            <a:r>
              <a:rPr lang="it-IT" sz="900" dirty="0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. con </a:t>
            </a:r>
            <a:r>
              <a:rPr lang="it-IT" sz="900" dirty="0" err="1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docetaxel</a:t>
            </a:r>
            <a:r>
              <a:rPr lang="it-IT" sz="900" dirty="0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:</a:t>
            </a:r>
            <a:r>
              <a:rPr lang="it-IT" sz="900" b="1" dirty="0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it-IT" sz="900" i="1" dirty="0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Molto comune</a:t>
            </a:r>
            <a:r>
              <a:rPr lang="it-IT" sz="900" b="1" i="1" dirty="0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:</a:t>
            </a:r>
            <a:r>
              <a:rPr lang="it-IT" sz="900" b="1" dirty="0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it-IT" sz="900" dirty="0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Ipertensione compresa l'emergenza ipertensiva</a:t>
            </a:r>
            <a:r>
              <a:rPr lang="it-IT" sz="900" b="1" dirty="0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,</a:t>
            </a:r>
            <a:r>
              <a:rPr lang="it-IT" sz="900" dirty="0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AST</a:t>
            </a:r>
            <a:r>
              <a:rPr lang="it-IT" sz="900" b="1" dirty="0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it-IT" sz="900" dirty="0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aumentata</a:t>
            </a:r>
            <a:r>
              <a:rPr lang="it-IT" sz="900" b="1" dirty="0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, </a:t>
            </a:r>
            <a:r>
              <a:rPr lang="it-IT" sz="900" dirty="0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ALT aumentata, </a:t>
            </a:r>
            <a:r>
              <a:rPr lang="it-IT" sz="900" dirty="0" err="1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Bilirubin</a:t>
            </a:r>
            <a:r>
              <a:rPr lang="it-IT" sz="900" b="1" dirty="0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it-IT" sz="900" dirty="0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aumentata, Eruzione cutanea. </a:t>
            </a:r>
            <a:r>
              <a:rPr lang="it-IT" sz="900" b="1" dirty="0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CD.:</a:t>
            </a:r>
            <a:r>
              <a:rPr lang="it-IT" sz="900" dirty="0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B. Bayer (Schweiz) AG, 8045 </a:t>
            </a:r>
            <a:r>
              <a:rPr lang="it-IT" sz="900" dirty="0" err="1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Zürich</a:t>
            </a:r>
            <a:r>
              <a:rPr lang="it-IT" sz="900" dirty="0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. Maggiori </a:t>
            </a:r>
            <a:r>
              <a:rPr lang="it-IT" sz="900" dirty="0" err="1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inform</a:t>
            </a:r>
            <a:r>
              <a:rPr lang="it-IT" sz="900" dirty="0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. sono </a:t>
            </a:r>
            <a:r>
              <a:rPr lang="it-IT" sz="900" dirty="0" err="1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dispon</a:t>
            </a:r>
            <a:r>
              <a:rPr lang="it-IT" sz="900" dirty="0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. nell’</a:t>
            </a:r>
            <a:r>
              <a:rPr lang="it-IT" sz="900" dirty="0" err="1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inform</a:t>
            </a:r>
            <a:r>
              <a:rPr lang="it-IT" sz="900" dirty="0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. dei </a:t>
            </a:r>
            <a:r>
              <a:rPr lang="it-IT" sz="900" dirty="0" err="1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medicam</a:t>
            </a:r>
            <a:r>
              <a:rPr lang="it-IT" sz="900" dirty="0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. pubblicata su </a:t>
            </a:r>
            <a:r>
              <a:rPr lang="it-IT" sz="900" u="sng" dirty="0">
                <a:solidFill>
                  <a:srgbClr val="0563C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www.swissmedicinfo</a:t>
            </a:r>
            <a:r>
              <a:rPr lang="it-IT" sz="900" dirty="0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.ch</a:t>
            </a:r>
            <a:r>
              <a:rPr lang="it-IT" sz="900" dirty="0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.</a:t>
            </a:r>
            <a:r>
              <a:rPr lang="de-CH" sz="900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              </a:t>
            </a:r>
            <a:r>
              <a:rPr lang="en-US" sz="900" dirty="0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RP-M_DAR-CH-0108-3   07/2025</a:t>
            </a:r>
            <a:endParaRPr lang="de-CH" sz="900" dirty="0">
              <a:solidFill>
                <a:schemeClr val="bg2">
                  <a:lumMod val="50000"/>
                </a:schemeClr>
              </a:solidFill>
              <a:effectLst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en-US" sz="900" b="0" i="0" u="none" strike="noStrike" kern="1200" cap="none" spc="0" normalizeH="0" baseline="0" noProof="0" dirty="0">
              <a:ln>
                <a:noFill/>
              </a:ln>
              <a:solidFill>
                <a:srgbClr val="77787B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900" b="1" i="0" u="none" strike="noStrike" kern="1200" cap="none" spc="0" normalizeH="0" baseline="0" noProof="0" dirty="0" err="1">
                <a:ln>
                  <a:noFill/>
                </a:ln>
                <a:solidFill>
                  <a:srgbClr val="77787B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Riferimenti</a:t>
            </a:r>
            <a:endParaRPr kumimoji="0" lang="en-US" altLang="en-US" sz="900" b="1" i="0" u="none" strike="noStrike" kern="1200" cap="none" spc="0" normalizeH="0" baseline="0" noProof="0" dirty="0">
              <a:ln>
                <a:noFill/>
              </a:ln>
              <a:solidFill>
                <a:srgbClr val="77787B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228600" marR="0" lvl="0" indent="-22860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it-IT" altLang="en-US" sz="900" b="0" i="0" u="none" strike="noStrike" kern="1200" cap="none" spc="0" normalizeH="0" baseline="0" noProof="0">
                <a:ln>
                  <a:noFill/>
                </a:ln>
                <a:solidFill>
                  <a:srgbClr val="77787B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Informazione </a:t>
            </a:r>
            <a:r>
              <a:rPr kumimoji="0" lang="it-IT" alt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77787B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rofessionale svizzera di Nubeqa (</a:t>
            </a:r>
            <a:r>
              <a:rPr kumimoji="0" lang="it-IT" altLang="en-US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77787B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Darolutamide</a:t>
            </a:r>
            <a:r>
              <a:rPr kumimoji="0" lang="it-IT" alt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77787B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): www.swissmedicinfo.ch</a:t>
            </a:r>
          </a:p>
          <a:p>
            <a:pPr marL="228600" marR="0" lvl="0" indent="-22860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kumimoji="0" lang="it-IT" alt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77787B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Informazione professionale svizzera di </a:t>
            </a:r>
            <a:r>
              <a:rPr kumimoji="0" lang="it-IT" altLang="en-US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77787B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Zytiga</a:t>
            </a:r>
            <a:r>
              <a:rPr kumimoji="0" lang="it-IT" alt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77787B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(</a:t>
            </a:r>
            <a:r>
              <a:rPr kumimoji="0" lang="it-IT" altLang="en-US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77787B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rbirateron</a:t>
            </a:r>
            <a:r>
              <a:rPr kumimoji="0" lang="it-IT" alt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77787B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): www.swissmedicinfo.ch</a:t>
            </a:r>
          </a:p>
          <a:p>
            <a:pPr marL="228600" marR="0" lvl="0" indent="-22860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kumimoji="0" lang="it-IT" alt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77787B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Informazione professionale svizzera di </a:t>
            </a:r>
            <a:r>
              <a:rPr kumimoji="0" lang="it-IT" altLang="en-US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77787B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Erleada</a:t>
            </a:r>
            <a:r>
              <a:rPr kumimoji="0" lang="it-IT" alt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77787B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(</a:t>
            </a:r>
            <a:r>
              <a:rPr kumimoji="0" lang="it-IT" altLang="en-US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77787B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palutamid</a:t>
            </a:r>
            <a:r>
              <a:rPr kumimoji="0" lang="it-IT" alt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77787B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): www.swissmedicinfo.ch</a:t>
            </a:r>
          </a:p>
          <a:p>
            <a:pPr marL="228600" marR="0" lvl="0" indent="-22860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kumimoji="0" lang="it-IT" alt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77787B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Informazione professionale svizzera di </a:t>
            </a:r>
            <a:r>
              <a:rPr kumimoji="0" lang="it-IT" altLang="en-US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77787B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Xtandi</a:t>
            </a:r>
            <a:r>
              <a:rPr kumimoji="0" lang="it-IT" alt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77787B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(</a:t>
            </a:r>
            <a:r>
              <a:rPr kumimoji="0" lang="it-IT" altLang="en-US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77787B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Enzalutamid</a:t>
            </a:r>
            <a:r>
              <a:rPr kumimoji="0" lang="it-IT" alt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77787B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): www.swissmedicinfo.ch</a:t>
            </a:r>
            <a:endParaRPr kumimoji="0" lang="en-US" altLang="en-US" sz="900" b="0" i="0" u="none" strike="noStrike" kern="1200" cap="none" spc="0" normalizeH="0" baseline="0" noProof="0" dirty="0">
              <a:ln>
                <a:noFill/>
              </a:ln>
              <a:solidFill>
                <a:srgbClr val="77787B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228600" marR="0" lvl="0" indent="-22860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kumimoji="0" lang="de-DE" altLang="en-US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77787B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Informazione</a:t>
            </a:r>
            <a:r>
              <a:rPr kumimoji="0" lang="de-DE" alt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77787B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professionale </a:t>
            </a:r>
            <a:r>
              <a:rPr kumimoji="0" lang="de-DE" altLang="en-US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77787B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vizzera</a:t>
            </a:r>
            <a:r>
              <a:rPr kumimoji="0" lang="de-DE" alt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77787B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di </a:t>
            </a:r>
            <a:r>
              <a:rPr kumimoji="0" lang="de-DE" altLang="en-US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77787B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Orgovyx</a:t>
            </a:r>
            <a:r>
              <a:rPr kumimoji="0" lang="de-DE" alt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77787B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(</a:t>
            </a:r>
            <a:r>
              <a:rPr kumimoji="0" lang="de-DE" altLang="en-US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77787B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Relugolix</a:t>
            </a:r>
            <a:r>
              <a:rPr kumimoji="0" lang="de-DE" alt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77787B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): www.swissmedicinfo.ch</a:t>
            </a:r>
          </a:p>
          <a:p>
            <a:pPr marL="228600" marR="0" lvl="0" indent="-22860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kumimoji="0" lang="de-DE" altLang="en-US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77787B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Bolek</a:t>
            </a:r>
            <a:r>
              <a:rPr kumimoji="0" lang="de-DE" alt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77787B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H, et al. Androgen </a:t>
            </a:r>
            <a:r>
              <a:rPr kumimoji="0" lang="de-DE" altLang="en-US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77787B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receptor</a:t>
            </a:r>
            <a:r>
              <a:rPr kumimoji="0" lang="de-DE" alt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77787B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de-DE" altLang="en-US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77787B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athway</a:t>
            </a:r>
            <a:r>
              <a:rPr kumimoji="0" lang="de-DE" alt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77787B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de-DE" altLang="en-US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77787B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inhibitors</a:t>
            </a:r>
            <a:r>
              <a:rPr kumimoji="0" lang="de-DE" alt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77787B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and </a:t>
            </a:r>
            <a:r>
              <a:rPr kumimoji="0" lang="de-DE" altLang="en-US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77787B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drug-drug</a:t>
            </a:r>
            <a:r>
              <a:rPr kumimoji="0" lang="de-DE" alt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77787B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de-DE" altLang="en-US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77787B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interactions</a:t>
            </a:r>
            <a:r>
              <a:rPr kumimoji="0" lang="de-DE" alt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77787B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in </a:t>
            </a:r>
            <a:r>
              <a:rPr kumimoji="0" lang="de-DE" altLang="en-US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77787B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rostate</a:t>
            </a:r>
            <a:r>
              <a:rPr kumimoji="0" lang="de-DE" alt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77787B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de-DE" altLang="en-US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77787B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ancer</a:t>
            </a:r>
            <a:r>
              <a:rPr kumimoji="0" lang="de-DE" alt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77787B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. ESMO Open 2024;9(11):103736.</a:t>
            </a: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altLang="en-US" sz="900" b="0" i="0" u="none" strike="noStrike" kern="1200" cap="none" spc="0" normalizeH="0" baseline="0" noProof="0" dirty="0">
              <a:ln>
                <a:noFill/>
              </a:ln>
              <a:solidFill>
                <a:srgbClr val="77787B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228600" marR="0" lvl="0" indent="-22860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endParaRPr kumimoji="0" lang="de-DE" altLang="en-US" sz="900" b="0" i="0" u="none" strike="noStrike" kern="1200" cap="none" spc="0" normalizeH="0" baseline="0" noProof="0" dirty="0">
              <a:ln>
                <a:noFill/>
              </a:ln>
              <a:solidFill>
                <a:srgbClr val="77787B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altLang="en-US" sz="900" b="0" i="1" u="none" strike="noStrike" kern="1200" cap="none" spc="0" normalizeH="0" baseline="0" noProof="0" dirty="0">
                <a:ln>
                  <a:noFill/>
                </a:ln>
                <a:solidFill>
                  <a:srgbClr val="77787B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I dati o le pubblicazioni di riferimento sono disponibili su richiesta.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F5F6DF91-1014-714A-F980-ECD698A5F4C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981899" y="6074417"/>
            <a:ext cx="986295" cy="586783"/>
          </a:xfrm>
          <a:prstGeom prst="rect">
            <a:avLst/>
          </a:prstGeom>
        </p:spPr>
      </p:pic>
      <p:sp>
        <p:nvSpPr>
          <p:cNvPr id="4" name="TextBox 1">
            <a:extLst>
              <a:ext uri="{FF2B5EF4-FFF2-40B4-BE49-F238E27FC236}">
                <a16:creationId xmlns:a16="http://schemas.microsoft.com/office/drawing/2014/main" id="{611B5B65-475C-2E72-1509-2AA122FD38C0}"/>
              </a:ext>
            </a:extLst>
          </p:cNvPr>
          <p:cNvSpPr txBox="1"/>
          <p:nvPr/>
        </p:nvSpPr>
        <p:spPr>
          <a:xfrm>
            <a:off x="456370" y="6322646"/>
            <a:ext cx="3921289" cy="338554"/>
          </a:xfrm>
          <a:prstGeom prst="rect">
            <a:avLst/>
          </a:prstGeom>
          <a:noFill/>
        </p:spPr>
        <p:txBody>
          <a:bodyPr rot="0" spcFirstLastPara="0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0" i="0" u="none" strike="noStrike" kern="1200" cap="none" spc="0" normalizeH="0" baseline="0" noProof="0" dirty="0">
                <a:ln>
                  <a:noFill/>
                </a:ln>
                <a:solidFill>
                  <a:srgbClr val="77787B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Bayer (Schweiz) AG 8045 Zürich </a:t>
            </a:r>
            <a:r>
              <a:rPr kumimoji="0" lang="de-DE" sz="800" b="0" i="0" u="none" strike="noStrike" kern="1200" cap="none" spc="0" normalizeH="0" baseline="0" noProof="0" dirty="0">
                <a:ln>
                  <a:noFill/>
                </a:ln>
                <a:solidFill>
                  <a:srgbClr val="77787B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hlinkClick r:id="rId5"/>
              </a:rPr>
              <a:t>www.bayer.com</a:t>
            </a:r>
            <a:br>
              <a:rPr kumimoji="0" lang="de-DE" sz="800" b="0" i="0" u="none" strike="noStrike" kern="1200" cap="none" spc="0" normalizeH="0" baseline="0" noProof="0" dirty="0">
                <a:ln>
                  <a:noFill/>
                </a:ln>
                <a:solidFill>
                  <a:srgbClr val="77787B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r>
              <a:rPr kumimoji="0" lang="de-DE" sz="800" b="0" i="0" u="none" strike="noStrike" kern="1200" cap="none" spc="0" normalizeH="0" baseline="0" noProof="0" dirty="0">
                <a:ln>
                  <a:noFill/>
                </a:ln>
                <a:solidFill>
                  <a:srgbClr val="77787B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P-NUB-CH-0281-4_10.2025</a:t>
            </a: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rgbClr val="77787B"/>
              </a:solidFill>
              <a:effectLst/>
              <a:uLnTx/>
              <a:uFillTx/>
              <a:latin typeface="Arial" panose="020B0604020202020204" pitchFamily="34" charset="0"/>
              <a:ea typeface="Calibri" panose="020F0502020204030204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7346611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EBAQEBAQEBAQEBAQEBAQEAAAAAAAAAAwAAAAMAAAAA/////wMAgA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7oe7MSGDG1Gm/82ErcOPBo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IQMAAAAAAAAAAAAACAB////////////////AAAA////////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Loe7MSGDG1Gm/82ErcOPBoDRGF0YQAWAAAAAlBlcnNvbmFsSWQAAQAAAAAAAk5hbWUACwAAAFBlcnNvbmFsSWQAEFZlcnNpb24AAAAAAAlMYXN0V3JpdGUAtDgBr44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479298766711540"/>
  <p:tag name="EMPOWERCHARTSPROPERTIES_A_LENGTH" val="24576"/>
  <p:tag name="RUNTIME_ID" val="041b1f2a-3214-4856-afdf-c27fcd77961b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MBAQEBAQEBAQEBAQEBAQEAAAAAAAAAAwAAAAMAAAAA/////wMAXAwAAAAAAAAAAAAAIAD///////////////8AAAD///////////////8DAAAAAgD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EAP///////wQAAAACABAAC+K2racZ8BJKosmdug4VRscFAAAAAAADAAAAAAADAAAAAQADAAAAAAD///////8DAAAAAAD///////8D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GwMAAAAAAAAAAAAACAB////////////////AAAA////////////////BAAAAAIA////////BAAAAAIA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wEDAAAAAgD///////8MAAZQZXJzb25hbElkXzAFAAAAAAAEAAAAAAAEAAAAAQAEAAAAAAD///////8E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OK2racZ8BJKosmdug4VRscDRGF0YQAWAAAAAlBlcnNvbmFsSWQAAQAAAAAAAk5hbWUACwAAAFBlcnNvbmFsSWQAEFZlcnNpb24AAAAAAAlMYXN0V3JpdGUA8zgBr44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479298767547515"/>
  <p:tag name="EMPOWERCHARTSPROPERTIES_A_LENGTH" val="24576"/>
  <p:tag name="RUNTIME_ID" val="893acfb1-ea06-4047-b328-6c65dceee0c4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IBAQEBAQEBAQEBAQEBAQEAAAAAAAAAAwAAAAMAAAAA/////wMAgA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0PjtZxMYpFJuS9PupAdMJk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HgMAAAAAAAAAAAAACAB////////////////AAAA////////////////BAAAAAIA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gEDAAAAAgD///////8MAAZQZXJzb25hbElkXzAFAAAAAAAEAAAAAAAEAAAAAQAE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EPjtZxMYpFJuS9PupAdMJkDRGF0YQAWAAAAAlBlcnNvbmFsSWQAAQAAAAAAAk5hbWUACwAAAFBlcnNvbmFsSWQAEFZlcnNpb24AAAAAAAlMYXN0V3JpdGUAODkBr44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479298768222570"/>
  <p:tag name="EMPOWERCHARTSPROPERTIES_A_LENGTH" val="24576"/>
  <p:tag name="RUNTIME_ID" val="f41a8dce-322b-41e8-982e-72bde7af1ea9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EBAQEBAQEBAQEBAQEBAQEAAAAAAAAAAwAAAAMAAAAA/////wMAgA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7oe7MSGDG1Gm/82ErcOPBo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IQMAAAAAAAAAAAAACAB////////////////AAAA////////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Loe7MSGDG1Gm/82ErcOPBoDRGF0YQAWAAAAAlBlcnNvbmFsSWQAAQAAAAAAAk5hbWUACwAAAFBlcnNvbmFsSWQAEFZlcnNpb24AAAAAAAlMYXN0V3JpdGUAtDgBr44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479298766711540"/>
  <p:tag name="EMPOWERCHARTSPROPERTIES_A_LENGTH" val="24576"/>
  <p:tag name="RUNTIME_ID" val="041b1f2a-3214-4856-afdf-c27fcd77961b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IBAQEBAQEBAQEBAQEBAQEAAAAAAAAAAwAAAAMAAAAA/////wMAgA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0PjtZxMYpFJuS9PupAdMJk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HgMAAAAAAAAAAAAACAB////////////////AAAA////////////////BAAAAAIA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gEDAAAAAgD///////8MAAZQZXJzb25hbElkXzAFAAAAAAAEAAAAAAAEAAAAAQAE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EPjtZxMYpFJuS9PupAdMJkDRGF0YQAWAAAAAlBlcnNvbmFsSWQAAQAAAAAAAk5hbWUACwAAAFBlcnNvbmFsSWQAEFZlcnNpb24AAAAAAAlMYXN0V3JpdGUAODkBr44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479298768222570"/>
  <p:tag name="EMPOWERCHARTSPROPERTIES_A_LENGTH" val="24576"/>
  <p:tag name="RUNTIME_ID" val="f41a8dce-322b-41e8-982e-72bde7af1ea9"/>
</p:tagLst>
</file>

<file path=ppt/theme/theme1.xml><?xml version="1.0" encoding="utf-8"?>
<a:theme xmlns:a="http://schemas.openxmlformats.org/drawingml/2006/main" name="2_Office Theme">
  <a:themeElements>
    <a:clrScheme name="Custom 11">
      <a:dk1>
        <a:srgbClr val="223C78"/>
      </a:dk1>
      <a:lt1>
        <a:srgbClr val="FFFFFF"/>
      </a:lt1>
      <a:dk2>
        <a:srgbClr val="939598"/>
      </a:dk2>
      <a:lt2>
        <a:srgbClr val="F3FAFF"/>
      </a:lt2>
      <a:accent1>
        <a:srgbClr val="F16623"/>
      </a:accent1>
      <a:accent2>
        <a:srgbClr val="009EDB"/>
      </a:accent2>
      <a:accent3>
        <a:srgbClr val="B8D6A2"/>
      </a:accent3>
      <a:accent4>
        <a:srgbClr val="223C78"/>
      </a:accent4>
      <a:accent5>
        <a:srgbClr val="404140"/>
      </a:accent5>
      <a:accent6>
        <a:srgbClr val="77787B"/>
      </a:accent6>
      <a:hlink>
        <a:srgbClr val="F16623"/>
      </a:hlink>
      <a:folHlink>
        <a:srgbClr val="77787B"/>
      </a:folHlink>
    </a:clrScheme>
    <a:fontScheme name="Arial Black-Arial">
      <a:majorFont>
        <a:latin typeface="Arial Black" panose="020B0A04020102020204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Daro Medical">
  <a:themeElements>
    <a:clrScheme name="Bayer 2017">
      <a:dk1>
        <a:srgbClr val="000000"/>
      </a:dk1>
      <a:lt1>
        <a:srgbClr val="FFFFFF"/>
      </a:lt1>
      <a:dk2>
        <a:srgbClr val="FF3162"/>
      </a:dk2>
      <a:lt2>
        <a:srgbClr val="624963"/>
      </a:lt2>
      <a:accent1>
        <a:srgbClr val="10384F"/>
      </a:accent1>
      <a:accent2>
        <a:srgbClr val="00BCFF"/>
      </a:accent2>
      <a:accent3>
        <a:srgbClr val="004422"/>
      </a:accent3>
      <a:accent4>
        <a:srgbClr val="89D329"/>
      </a:accent4>
      <a:accent5>
        <a:srgbClr val="443247"/>
      </a:accent5>
      <a:accent6>
        <a:srgbClr val="D30F4B"/>
      </a:accent6>
      <a:hlink>
        <a:srgbClr val="00BCFF"/>
      </a:hlink>
      <a:folHlink>
        <a:srgbClr val="89D329"/>
      </a:folHlink>
    </a:clrScheme>
    <a:fontScheme name="Custom 1">
      <a:majorFont>
        <a:latin typeface="Arial Black"/>
        <a:ea typeface="Arial Unicode MS"/>
        <a:cs typeface="Arial"/>
      </a:majorFont>
      <a:minorFont>
        <a:latin typeface="Arial"/>
        <a:ea typeface="Arial Unicode MS"/>
        <a:cs typeface="Arial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 w="6350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square" lIns="0" tIns="0" rIns="0" bIns="0" rtlCol="0">
        <a:noAutofit/>
      </a:bodyPr>
      <a:lstStyle>
        <a:defPPr>
          <a:defRPr dirty="0" err="1" smtClean="0"/>
        </a:defPPr>
      </a:lstStyle>
    </a:txDef>
  </a:objectDefaults>
  <a:extraClrSchemeLst/>
  <a:custClrLst>
    <a:custClr name="Raspberry">
      <a:srgbClr val="D30F4B"/>
    </a:custClr>
    <a:custClr name="Fuschia">
      <a:srgbClr val="FF3162"/>
    </a:custClr>
    <a:custClr name="DarkPurple">
      <a:srgbClr val="443247"/>
    </a:custClr>
    <a:custClr name="MidPurple">
      <a:srgbClr val="624963"/>
    </a:custClr>
    <a:custClr name="DarkBlue">
      <a:srgbClr val="10384F"/>
    </a:custClr>
    <a:custClr name="MidBlue">
      <a:srgbClr val="00617F"/>
    </a:custClr>
    <a:custClr name="Blue">
      <a:srgbClr val="0091DF"/>
    </a:custClr>
    <a:custClr name="BrightBlue">
      <a:srgbClr val="00BCFF"/>
    </a:custClr>
    <a:custClr name="DarkGreen">
      <a:srgbClr val="004422"/>
    </a:custClr>
    <a:custClr name="MidGreen">
      <a:srgbClr val="2B6636"/>
    </a:custClr>
    <a:custClr name="Green">
      <a:srgbClr val="66B512"/>
    </a:custClr>
    <a:custClr name="BrightGreen">
      <a:srgbClr val="89D329"/>
    </a:custClr>
    <a:custClr name="TrafficLightRed">
      <a:srgbClr val="CC0000"/>
    </a:custClr>
    <a:custClr name="TrafficLightYellow">
      <a:srgbClr val="FFCC00"/>
    </a:custClr>
    <a:custClr name="TrafficLightGreen">
      <a:srgbClr val="66B512"/>
    </a:custClr>
  </a:custClrLst>
  <a:extLst>
    <a:ext uri="{05A4C25C-085E-4340-85A3-A5531E510DB2}">
      <thm15:themeFamily xmlns:thm15="http://schemas.microsoft.com/office/thememl/2012/main" name="Daro Medical" id="{612EBEA5-4CE3-4B31-AD54-AB62E17DE0B5}" vid="{94C32C4C-3669-4D00-B7BC-5BC719A8DD18}"/>
    </a:ext>
  </a:extLst>
</a:theme>
</file>

<file path=ppt/theme/theme3.xml><?xml version="1.0" encoding="utf-8"?>
<a:theme xmlns:a="http://schemas.openxmlformats.org/drawingml/2006/main" name="3_Office Them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1a4d292e-883c-434b-96e3-060cfff16c86" xsi:nil="true"/>
    <_dlc_ExpireDateSaved xmlns="http://schemas.microsoft.com/sharepoint/v3" xsi:nil="true"/>
    <lcf76f155ced4ddcb4097134ff3c332f xmlns="52c41914-47fd-4263-9e1b-d8877e82f575">
      <Terms xmlns="http://schemas.microsoft.com/office/infopath/2007/PartnerControls"/>
    </lcf76f155ced4ddcb4097134ff3c332f>
    <_dlc_ExpireDate xmlns="http://schemas.microsoft.com/sharepoint/v3" xsi:nil="true"/>
    <_dlc_Exempt xmlns="http://schemas.microsoft.com/sharepoint/v3" xsi:nil="true"/>
    <_ip_UnifiedCompliancePolicyUIAction xmlns="http://schemas.microsoft.com/sharepoint/v3" xsi:nil="true"/>
    <_ip_UnifiedCompliancePolicyProperties xmlns="http://schemas.microsoft.com/sharepoint/v3" xsi:nil="true"/>
  </documentManagement>
</p:properties>
</file>

<file path=customXml/item3.xml><?xml version="1.0" encoding="utf-8"?>
<?mso-contentType ?>
<SharedContentType xmlns="Microsoft.SharePoint.Taxonomy.ContentTypeSync" SourceId="7bc43322-b630-4bac-8b27-31def233d1d0" ContentTypeId="0x0101" PreviousValue="false"/>
</file>

<file path=customXml/item4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EBD9AC528DE4949B3343CF8BF8821ED" ma:contentTypeVersion="21" ma:contentTypeDescription="Create a new document." ma:contentTypeScope="" ma:versionID="d2ffc49d7a4e349961baf82def277493">
  <xsd:schema xmlns:xsd="http://www.w3.org/2001/XMLSchema" xmlns:xs="http://www.w3.org/2001/XMLSchema" xmlns:p="http://schemas.microsoft.com/office/2006/metadata/properties" xmlns:ns1="http://schemas.microsoft.com/sharepoint/v3" xmlns:ns2="1a4d292e-883c-434b-96e3-060cfff16c86" xmlns:ns3="52c41914-47fd-4263-9e1b-d8877e82f575" xmlns:ns4="4a27762e-ff82-4243-8a52-87712e03ee5d" targetNamespace="http://schemas.microsoft.com/office/2006/metadata/properties" ma:root="true" ma:fieldsID="2f50b562a89878c738a9e0ae9ac20fa2" ns1:_="" ns2:_="" ns3:_="" ns4:_="">
    <xsd:import namespace="http://schemas.microsoft.com/sharepoint/v3"/>
    <xsd:import namespace="1a4d292e-883c-434b-96e3-060cfff16c86"/>
    <xsd:import namespace="52c41914-47fd-4263-9e1b-d8877e82f575"/>
    <xsd:import namespace="4a27762e-ff82-4243-8a52-87712e03ee5d"/>
    <xsd:element name="properties">
      <xsd:complexType>
        <xsd:sequence>
          <xsd:element name="documentManagement">
            <xsd:complexType>
              <xsd:all>
                <xsd:element ref="ns2:TaxCatchAll" minOccurs="0"/>
                <xsd:element ref="ns2:TaxCatchAllLabel" minOccurs="0"/>
                <xsd:element ref="ns1:_dlc_Exempt" minOccurs="0"/>
                <xsd:element ref="ns1:_dlc_ExpireDateSaved" minOccurs="0"/>
                <xsd:element ref="ns1:_dlc_ExpireDate" minOccurs="0"/>
                <xsd:element ref="ns3:MediaServiceMetadata" minOccurs="0"/>
                <xsd:element ref="ns3:MediaServiceFastMetadata" minOccurs="0"/>
                <xsd:element ref="ns3:MediaServiceSearchProperties" minOccurs="0"/>
                <xsd:element ref="ns3:MediaServiceObjectDetectorVersions" minOccurs="0"/>
                <xsd:element ref="ns3:MediaServiceDateTaken" minOccurs="0"/>
                <xsd:element ref="ns3:MediaServiceGenerationTime" minOccurs="0"/>
                <xsd:element ref="ns3:MediaServiceEventHashCode" minOccurs="0"/>
                <xsd:element ref="ns3:MediaLengthInSeconds" minOccurs="0"/>
                <xsd:element ref="ns3:lcf76f155ced4ddcb4097134ff3c332f" minOccurs="0"/>
                <xsd:element ref="ns3:MediaServiceOCR" minOccurs="0"/>
                <xsd:element ref="ns4:SharedWithUsers" minOccurs="0"/>
                <xsd:element ref="ns4:SharedWithDetails" minOccurs="0"/>
                <xsd:element ref="ns3:MediaServiceLocation" minOccurs="0"/>
                <xsd:element ref="ns3:MediaServiceBillingMetadata" minOccurs="0"/>
                <xsd:element ref="ns1:_ip_UnifiedCompliancePolicyProperties" minOccurs="0"/>
                <xsd:element ref="ns1:_ip_UnifiedCompliancePolicyUIAc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_dlc_Exempt" ma:index="10" nillable="true" ma:displayName="Exempt from Policy" ma:hidden="true" ma:internalName="_dlc_Exempt" ma:readOnly="false">
      <xsd:simpleType>
        <xsd:restriction base="dms:Unknown"/>
      </xsd:simpleType>
    </xsd:element>
    <xsd:element name="_dlc_ExpireDateSaved" ma:index="11" nillable="true" ma:displayName="Original Expiration Date" ma:hidden="true" ma:internalName="_dlc_ExpireDateSaved" ma:readOnly="false">
      <xsd:simpleType>
        <xsd:restriction base="dms:DateTime"/>
      </xsd:simpleType>
    </xsd:element>
    <xsd:element name="_dlc_ExpireDate" ma:index="12" nillable="true" ma:displayName="Expiration Date" ma:hidden="true" ma:internalName="_dlc_ExpireDate" ma:readOnly="false">
      <xsd:simpleType>
        <xsd:restriction base="dms:DateTime"/>
      </xsd:simpleType>
    </xsd:element>
    <xsd:element name="_ip_UnifiedCompliancePolicyProperties" ma:index="28" nillable="true" ma:displayName="Unified Compliance Policy Properties" ma:hidden="true" ma:internalName="_ip_UnifiedCompliancePolicyProperties">
      <xsd:simpleType>
        <xsd:restriction base="dms:Note"/>
      </xsd:simpleType>
    </xsd:element>
    <xsd:element name="_ip_UnifiedCompliancePolicyUIAction" ma:index="29" nillable="true" ma:displayName="Unified Compliance Policy UI Action" ma:hidden="true" ma:internalName="_ip_UnifiedCompliancePolicyUIAction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a4d292e-883c-434b-96e3-060cfff16c86" elementFormDefault="qualified">
    <xsd:import namespace="http://schemas.microsoft.com/office/2006/documentManagement/types"/>
    <xsd:import namespace="http://schemas.microsoft.com/office/infopath/2007/PartnerControls"/>
    <xsd:element name="TaxCatchAll" ma:index="8" nillable="true" ma:displayName="Taxonomy Catch All Column" ma:hidden="true" ma:list="{2540e3d9-f28b-4f86-8a38-24a54adb6f34}" ma:internalName="TaxCatchAll" ma:showField="CatchAllData" ma:web="4a27762e-ff82-4243-8a52-87712e03ee5d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TaxCatchAllLabel" ma:index="9" nillable="true" ma:displayName="Taxonomy Catch All Column1" ma:hidden="true" ma:list="{2540e3d9-f28b-4f86-8a38-24a54adb6f34}" ma:internalName="TaxCatchAllLabel" ma:readOnly="true" ma:showField="CatchAllDataLabel" ma:web="4a27762e-ff82-4243-8a52-87712e03ee5d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2c41914-47fd-4263-9e1b-d8877e82f57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3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4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5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16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DateTaken" ma:index="17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GenerationTime" ma:index="18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9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22" nillable="true" ma:taxonomy="true" ma:internalName="lcf76f155ced4ddcb4097134ff3c332f" ma:taxonomyFieldName="MediaServiceImageTags" ma:displayName="Image Tags" ma:readOnly="false" ma:fieldId="{5cf76f15-5ced-4ddc-b409-7134ff3c332f}" ma:taxonomyMulti="true" ma:sspId="7bc43322-b630-4bac-8b27-31def233d1d0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2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Location" ma:index="26" nillable="true" ma:displayName="Location" ma:description="" ma:indexed="true" ma:internalName="MediaServiceLocation" ma:readOnly="true">
      <xsd:simpleType>
        <xsd:restriction base="dms:Text"/>
      </xsd:simpleType>
    </xsd:element>
    <xsd:element name="MediaServiceBillingMetadata" ma:index="27" nillable="true" ma:displayName="MediaServiceBillingMetadata" ma:hidden="true" ma:internalName="MediaServiceBillingMetadata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a27762e-ff82-4243-8a52-87712e03ee5d" elementFormDefault="qualified">
    <xsd:import namespace="http://schemas.microsoft.com/office/2006/documentManagement/types"/>
    <xsd:import namespace="http://schemas.microsoft.com/office/infopath/2007/PartnerControls"/>
    <xsd:element name="SharedWithUsers" ma:index="24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25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7A399330-1F5F-4DA0-B791-1CBC21EF3C8F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4CCCA45F-E571-48C2-B6C0-2E00AC6DE695}">
  <ds:schemaRefs>
    <ds:schemaRef ds:uri="http://schemas.microsoft.com/office/2006/metadata/properties"/>
    <ds:schemaRef ds:uri="http://schemas.microsoft.com/office/infopath/2007/PartnerControls"/>
    <ds:schemaRef ds:uri="1a4d292e-883c-434b-96e3-060cfff16c86"/>
    <ds:schemaRef ds:uri="http://schemas.microsoft.com/sharepoint/v3"/>
    <ds:schemaRef ds:uri="52c41914-47fd-4263-9e1b-d8877e82f575"/>
  </ds:schemaRefs>
</ds:datastoreItem>
</file>

<file path=customXml/itemProps3.xml><?xml version="1.0" encoding="utf-8"?>
<ds:datastoreItem xmlns:ds="http://schemas.openxmlformats.org/officeDocument/2006/customXml" ds:itemID="{59C90743-9E0D-4AA8-AEA4-B1E8EFF4A143}">
  <ds:schemaRefs>
    <ds:schemaRef ds:uri="Microsoft.SharePoint.Taxonomy.ContentTypeSync"/>
  </ds:schemaRefs>
</ds:datastoreItem>
</file>

<file path=customXml/itemProps4.xml><?xml version="1.0" encoding="utf-8"?>
<ds:datastoreItem xmlns:ds="http://schemas.openxmlformats.org/officeDocument/2006/customXml" ds:itemID="{EEB10B64-4252-49F6-9763-F9F891026FF2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1a4d292e-883c-434b-96e3-060cfff16c86"/>
    <ds:schemaRef ds:uri="52c41914-47fd-4263-9e1b-d8877e82f575"/>
    <ds:schemaRef ds:uri="4a27762e-ff82-4243-8a52-87712e03ee5d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1300</Words>
  <Application>Microsoft Office PowerPoint</Application>
  <PresentationFormat>Breitbild</PresentationFormat>
  <Paragraphs>282</Paragraphs>
  <Slides>3</Slides>
  <Notes>2</Notes>
  <HiddenSlides>0</HiddenSlides>
  <MMClips>0</MMClips>
  <ScaleCrop>false</ScaleCrop>
  <HeadingPairs>
    <vt:vector size="6" baseType="variant">
      <vt:variant>
        <vt:lpstr>Verwendete Schriftarten</vt:lpstr>
      </vt:variant>
      <vt:variant>
        <vt:i4>6</vt:i4>
      </vt:variant>
      <vt:variant>
        <vt:lpstr>Design</vt:lpstr>
      </vt:variant>
      <vt:variant>
        <vt:i4>3</vt:i4>
      </vt:variant>
      <vt:variant>
        <vt:lpstr>Folientitel</vt:lpstr>
      </vt:variant>
      <vt:variant>
        <vt:i4>3</vt:i4>
      </vt:variant>
    </vt:vector>
  </HeadingPairs>
  <TitlesOfParts>
    <vt:vector size="12" baseType="lpstr">
      <vt:lpstr>Aptos</vt:lpstr>
      <vt:lpstr>Arial</vt:lpstr>
      <vt:lpstr>Calibri</vt:lpstr>
      <vt:lpstr>Calibri Light</vt:lpstr>
      <vt:lpstr>Courier New</vt:lpstr>
      <vt:lpstr>Helvetica</vt:lpstr>
      <vt:lpstr>2_Office Theme</vt:lpstr>
      <vt:lpstr>Daro Medical</vt:lpstr>
      <vt:lpstr>3_Office Theme</vt:lpstr>
      <vt:lpstr>Interazioni farmacologiche degli ARPI con medicamenti  concomitanti di rilevanza clinica*</vt:lpstr>
      <vt:lpstr>Interazioni farmacologiche degli ARPI con medicamenti  concomitanti di rilevanza clinica*</vt:lpstr>
      <vt:lpstr>PowerPoint-Prä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Brianna Lien</dc:creator>
  <cp:lastModifiedBy>Brianna Lien</cp:lastModifiedBy>
  <cp:revision>1</cp:revision>
  <dcterms:created xsi:type="dcterms:W3CDTF">2024-04-23T08:28:19Z</dcterms:created>
  <dcterms:modified xsi:type="dcterms:W3CDTF">2025-10-23T11:37:0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lassificationContentMarkingFooterLocations">
    <vt:lpwstr>Office Theme:8</vt:lpwstr>
  </property>
  <property fmtid="{D5CDD505-2E9C-101B-9397-08002B2CF9AE}" pid="3" name="ClassificationContentMarkingFooterText">
    <vt:lpwstr>RESTRICTED</vt:lpwstr>
  </property>
  <property fmtid="{D5CDD505-2E9C-101B-9397-08002B2CF9AE}" pid="4" name="ContentTypeId">
    <vt:lpwstr>0x0101002EBD9AC528DE4949B3343CF8BF8821ED</vt:lpwstr>
  </property>
  <property fmtid="{D5CDD505-2E9C-101B-9397-08002B2CF9AE}" pid="5" name="MediaServiceImageTags">
    <vt:lpwstr/>
  </property>
  <property fmtid="{D5CDD505-2E9C-101B-9397-08002B2CF9AE}" pid="6" name="MSIP_Label_7f850223-87a8-40c3-9eb2-432606efca2a_Enabled">
    <vt:lpwstr>true</vt:lpwstr>
  </property>
  <property fmtid="{D5CDD505-2E9C-101B-9397-08002B2CF9AE}" pid="7" name="MSIP_Label_7f850223-87a8-40c3-9eb2-432606efca2a_SetDate">
    <vt:lpwstr>2024-05-02T14:45:52Z</vt:lpwstr>
  </property>
  <property fmtid="{D5CDD505-2E9C-101B-9397-08002B2CF9AE}" pid="8" name="MSIP_Label_7f850223-87a8-40c3-9eb2-432606efca2a_Method">
    <vt:lpwstr>Privileged</vt:lpwstr>
  </property>
  <property fmtid="{D5CDD505-2E9C-101B-9397-08002B2CF9AE}" pid="9" name="MSIP_Label_7f850223-87a8-40c3-9eb2-432606efca2a_Name">
    <vt:lpwstr>7f850223-87a8-40c3-9eb2-432606efca2a</vt:lpwstr>
  </property>
  <property fmtid="{D5CDD505-2E9C-101B-9397-08002B2CF9AE}" pid="10" name="MSIP_Label_7f850223-87a8-40c3-9eb2-432606efca2a_SiteId">
    <vt:lpwstr>fcb2b37b-5da0-466b-9b83-0014b67a7c78</vt:lpwstr>
  </property>
  <property fmtid="{D5CDD505-2E9C-101B-9397-08002B2CF9AE}" pid="11" name="MSIP_Label_7f850223-87a8-40c3-9eb2-432606efca2a_ActionId">
    <vt:lpwstr>f8596c71-3fb9-4bf2-abca-a52d8a0d20a0</vt:lpwstr>
  </property>
  <property fmtid="{D5CDD505-2E9C-101B-9397-08002B2CF9AE}" pid="12" name="MSIP_Label_7f850223-87a8-40c3-9eb2-432606efca2a_ContentBits">
    <vt:lpwstr>0</vt:lpwstr>
  </property>
</Properties>
</file>